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4" r:id="rId1"/>
  </p:sldMasterIdLst>
  <p:notesMasterIdLst>
    <p:notesMasterId r:id="rId4"/>
  </p:notesMasterIdLst>
  <p:sldIdLst>
    <p:sldId id="266" r:id="rId2"/>
    <p:sldId id="268" r:id="rId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4434" autoAdjust="0"/>
  </p:normalViewPr>
  <p:slideViewPr>
    <p:cSldViewPr snapToGrid="0">
      <p:cViewPr varScale="1">
        <p:scale>
          <a:sx n="84" d="100"/>
          <a:sy n="84" d="100"/>
        </p:scale>
        <p:origin x="-1430" y="-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EE376-7D2D-4680-AB3B-0C7354C9BE3E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5DF12-E124-401C-B503-3476B2BB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6084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3638" y="250825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0" y="3792898"/>
            <a:ext cx="6739803" cy="4706370"/>
          </a:xfrm>
        </p:spPr>
        <p:txBody>
          <a:bodyPr>
            <a:noAutofit/>
          </a:bodyPr>
          <a:lstStyle/>
          <a:p>
            <a:pPr defTabSz="864931">
              <a:defRPr/>
            </a:pPr>
            <a:endParaRPr lang="en-US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F66034-E80D-420C-8E02-F57C9934263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58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Oval 9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6440" y="2226503"/>
            <a:ext cx="5917679" cy="255087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6440" y="4777380"/>
            <a:ext cx="5917679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7498080" y="1828800"/>
            <a:ext cx="990599" cy="22865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5923F103-BC34-4FE4-A40E-EDDEECFDA5D0}" type="datetimeFigureOut">
              <a:rPr lang="en-US" smtClean="0"/>
              <a:pPr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6236208" y="3264408"/>
            <a:ext cx="3859795" cy="228660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209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10204164">
              <a:off x="426788" y="4564241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6" name="Rectangle 15"/>
            <p:cNvSpPr/>
            <p:nvPr/>
          </p:nvSpPr>
          <p:spPr>
            <a:xfrm>
              <a:off x="421503" y="402165"/>
              <a:ext cx="8327939" cy="31411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 bwMode="gray">
            <a:xfrm rot="10800000">
              <a:off x="485023" y="2670079"/>
              <a:ext cx="8182128" cy="2130508"/>
            </a:xfrm>
            <a:custGeom>
              <a:avLst/>
              <a:gdLst/>
              <a:ahLst/>
              <a:cxnLst/>
              <a:rect l="l" t="t" r="r" b="b"/>
              <a:pathLst>
                <a:path w="10000" h="9621">
                  <a:moveTo>
                    <a:pt x="0" y="0"/>
                  </a:moveTo>
                  <a:lnTo>
                    <a:pt x="0" y="2411"/>
                  </a:lnTo>
                  <a:lnTo>
                    <a:pt x="0" y="9586"/>
                  </a:lnTo>
                  <a:lnTo>
                    <a:pt x="0" y="9621"/>
                  </a:lnTo>
                  <a:lnTo>
                    <a:pt x="10000" y="9585"/>
                  </a:lnTo>
                  <a:cubicBezTo>
                    <a:pt x="9997" y="8144"/>
                    <a:pt x="10003" y="9571"/>
                    <a:pt x="10000" y="9586"/>
                  </a:cubicBezTo>
                  <a:cubicBezTo>
                    <a:pt x="9997" y="7194"/>
                    <a:pt x="9993" y="4803"/>
                    <a:pt x="9990" y="2411"/>
                  </a:cubicBezTo>
                  <a:lnTo>
                    <a:pt x="9990" y="0"/>
                  </a:lnTo>
                  <a:lnTo>
                    <a:pt x="9990" y="0"/>
                  </a:lnTo>
                  <a:lnTo>
                    <a:pt x="9534" y="253"/>
                  </a:lnTo>
                  <a:lnTo>
                    <a:pt x="9084" y="477"/>
                  </a:lnTo>
                  <a:lnTo>
                    <a:pt x="8628" y="669"/>
                  </a:lnTo>
                  <a:lnTo>
                    <a:pt x="8177" y="847"/>
                  </a:lnTo>
                  <a:lnTo>
                    <a:pt x="7726" y="984"/>
                  </a:lnTo>
                  <a:lnTo>
                    <a:pt x="7279" y="1087"/>
                  </a:lnTo>
                  <a:lnTo>
                    <a:pt x="6832" y="1176"/>
                  </a:lnTo>
                  <a:lnTo>
                    <a:pt x="6393" y="1236"/>
                  </a:lnTo>
                  <a:lnTo>
                    <a:pt x="5962" y="1279"/>
                  </a:lnTo>
                  <a:lnTo>
                    <a:pt x="5534" y="1294"/>
                  </a:lnTo>
                  <a:lnTo>
                    <a:pt x="5120" y="1294"/>
                  </a:lnTo>
                  <a:lnTo>
                    <a:pt x="4709" y="1294"/>
                  </a:lnTo>
                  <a:lnTo>
                    <a:pt x="4311" y="1266"/>
                  </a:lnTo>
                  <a:lnTo>
                    <a:pt x="3923" y="1221"/>
                  </a:lnTo>
                  <a:lnTo>
                    <a:pt x="3548" y="1161"/>
                  </a:lnTo>
                  <a:lnTo>
                    <a:pt x="3187" y="1101"/>
                  </a:lnTo>
                  <a:lnTo>
                    <a:pt x="2840" y="1026"/>
                  </a:lnTo>
                  <a:lnTo>
                    <a:pt x="2505" y="954"/>
                  </a:lnTo>
                  <a:lnTo>
                    <a:pt x="2192" y="865"/>
                  </a:lnTo>
                  <a:lnTo>
                    <a:pt x="1889" y="775"/>
                  </a:lnTo>
                  <a:lnTo>
                    <a:pt x="1346" y="579"/>
                  </a:lnTo>
                  <a:lnTo>
                    <a:pt x="882" y="400"/>
                  </a:lnTo>
                  <a:lnTo>
                    <a:pt x="511" y="253"/>
                  </a:lnTo>
                  <a:lnTo>
                    <a:pt x="234" y="1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0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1" y="4961454"/>
            <a:ext cx="6422004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66441" y="685800"/>
            <a:ext cx="6422004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866440" y="5528192"/>
            <a:ext cx="6422004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3A1CC3-2375-41D4-9E03-427CAF2A4C1A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647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21010068">
              <a:off x="6359946" y="2780895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9" name="Rectangle 8"/>
            <p:cNvSpPr/>
            <p:nvPr/>
          </p:nvSpPr>
          <p:spPr>
            <a:xfrm>
              <a:off x="485023" y="4343399"/>
              <a:ext cx="8182128" cy="21124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 bwMode="gray">
            <a:xfrm>
              <a:off x="485023" y="2854646"/>
              <a:ext cx="8182128" cy="2130508"/>
            </a:xfrm>
            <a:custGeom>
              <a:avLst/>
              <a:gdLst/>
              <a:ahLst/>
              <a:cxnLst/>
              <a:rect l="l" t="t" r="r" b="b"/>
              <a:pathLst>
                <a:path w="10000" h="9621">
                  <a:moveTo>
                    <a:pt x="0" y="0"/>
                  </a:moveTo>
                  <a:lnTo>
                    <a:pt x="0" y="2411"/>
                  </a:lnTo>
                  <a:lnTo>
                    <a:pt x="0" y="9586"/>
                  </a:lnTo>
                  <a:lnTo>
                    <a:pt x="0" y="9621"/>
                  </a:lnTo>
                  <a:lnTo>
                    <a:pt x="10000" y="9585"/>
                  </a:lnTo>
                  <a:cubicBezTo>
                    <a:pt x="9997" y="8144"/>
                    <a:pt x="10003" y="9571"/>
                    <a:pt x="10000" y="9586"/>
                  </a:cubicBezTo>
                  <a:cubicBezTo>
                    <a:pt x="9997" y="7194"/>
                    <a:pt x="9993" y="4803"/>
                    <a:pt x="9990" y="2411"/>
                  </a:cubicBezTo>
                  <a:lnTo>
                    <a:pt x="9990" y="0"/>
                  </a:lnTo>
                  <a:lnTo>
                    <a:pt x="9990" y="0"/>
                  </a:lnTo>
                  <a:lnTo>
                    <a:pt x="9534" y="253"/>
                  </a:lnTo>
                  <a:lnTo>
                    <a:pt x="9084" y="477"/>
                  </a:lnTo>
                  <a:lnTo>
                    <a:pt x="8628" y="669"/>
                  </a:lnTo>
                  <a:lnTo>
                    <a:pt x="8177" y="847"/>
                  </a:lnTo>
                  <a:lnTo>
                    <a:pt x="7726" y="984"/>
                  </a:lnTo>
                  <a:lnTo>
                    <a:pt x="7279" y="1087"/>
                  </a:lnTo>
                  <a:lnTo>
                    <a:pt x="6832" y="1176"/>
                  </a:lnTo>
                  <a:lnTo>
                    <a:pt x="6393" y="1236"/>
                  </a:lnTo>
                  <a:lnTo>
                    <a:pt x="5962" y="1279"/>
                  </a:lnTo>
                  <a:lnTo>
                    <a:pt x="5534" y="1294"/>
                  </a:lnTo>
                  <a:lnTo>
                    <a:pt x="5120" y="1294"/>
                  </a:lnTo>
                  <a:lnTo>
                    <a:pt x="4709" y="1294"/>
                  </a:lnTo>
                  <a:lnTo>
                    <a:pt x="4311" y="1266"/>
                  </a:lnTo>
                  <a:lnTo>
                    <a:pt x="3923" y="1221"/>
                  </a:lnTo>
                  <a:lnTo>
                    <a:pt x="3548" y="1161"/>
                  </a:lnTo>
                  <a:lnTo>
                    <a:pt x="3187" y="1101"/>
                  </a:lnTo>
                  <a:lnTo>
                    <a:pt x="2840" y="1026"/>
                  </a:lnTo>
                  <a:lnTo>
                    <a:pt x="2505" y="954"/>
                  </a:lnTo>
                  <a:lnTo>
                    <a:pt x="2192" y="865"/>
                  </a:lnTo>
                  <a:lnTo>
                    <a:pt x="1889" y="775"/>
                  </a:lnTo>
                  <a:lnTo>
                    <a:pt x="1346" y="579"/>
                  </a:lnTo>
                  <a:lnTo>
                    <a:pt x="882" y="400"/>
                  </a:lnTo>
                  <a:lnTo>
                    <a:pt x="511" y="253"/>
                  </a:lnTo>
                  <a:lnTo>
                    <a:pt x="234" y="1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927100"/>
            <a:ext cx="6422005" cy="1692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866440" y="3488023"/>
            <a:ext cx="6422005" cy="2536857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16868-8199-4C2C-A5B1-63AEE139F88E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392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21010068">
              <a:off x="6359946" y="4309201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10"/>
            <p:cNvSpPr/>
            <p:nvPr/>
          </p:nvSpPr>
          <p:spPr bwMode="gray">
            <a:xfrm>
              <a:off x="485023" y="4381500"/>
              <a:ext cx="8182128" cy="2130508"/>
            </a:xfrm>
            <a:custGeom>
              <a:avLst/>
              <a:gdLst/>
              <a:ahLst/>
              <a:cxnLst/>
              <a:rect l="l" t="t" r="r" b="b"/>
              <a:pathLst>
                <a:path w="10000" h="9621">
                  <a:moveTo>
                    <a:pt x="0" y="0"/>
                  </a:moveTo>
                  <a:lnTo>
                    <a:pt x="0" y="2411"/>
                  </a:lnTo>
                  <a:lnTo>
                    <a:pt x="0" y="9586"/>
                  </a:lnTo>
                  <a:lnTo>
                    <a:pt x="0" y="9621"/>
                  </a:lnTo>
                  <a:lnTo>
                    <a:pt x="10000" y="9585"/>
                  </a:lnTo>
                  <a:cubicBezTo>
                    <a:pt x="9997" y="8144"/>
                    <a:pt x="10003" y="9571"/>
                    <a:pt x="10000" y="9586"/>
                  </a:cubicBezTo>
                  <a:cubicBezTo>
                    <a:pt x="9997" y="7194"/>
                    <a:pt x="9993" y="4803"/>
                    <a:pt x="9990" y="2411"/>
                  </a:cubicBezTo>
                  <a:lnTo>
                    <a:pt x="9990" y="0"/>
                  </a:lnTo>
                  <a:lnTo>
                    <a:pt x="9990" y="0"/>
                  </a:lnTo>
                  <a:lnTo>
                    <a:pt x="9534" y="253"/>
                  </a:lnTo>
                  <a:lnTo>
                    <a:pt x="9084" y="477"/>
                  </a:lnTo>
                  <a:lnTo>
                    <a:pt x="8628" y="669"/>
                  </a:lnTo>
                  <a:lnTo>
                    <a:pt x="8177" y="847"/>
                  </a:lnTo>
                  <a:lnTo>
                    <a:pt x="7726" y="984"/>
                  </a:lnTo>
                  <a:lnTo>
                    <a:pt x="7279" y="1087"/>
                  </a:lnTo>
                  <a:lnTo>
                    <a:pt x="6832" y="1176"/>
                  </a:lnTo>
                  <a:lnTo>
                    <a:pt x="6393" y="1236"/>
                  </a:lnTo>
                  <a:lnTo>
                    <a:pt x="5962" y="1279"/>
                  </a:lnTo>
                  <a:lnTo>
                    <a:pt x="5534" y="1294"/>
                  </a:lnTo>
                  <a:lnTo>
                    <a:pt x="5120" y="1294"/>
                  </a:lnTo>
                  <a:lnTo>
                    <a:pt x="4709" y="1294"/>
                  </a:lnTo>
                  <a:lnTo>
                    <a:pt x="4311" y="1266"/>
                  </a:lnTo>
                  <a:lnTo>
                    <a:pt x="3923" y="1221"/>
                  </a:lnTo>
                  <a:lnTo>
                    <a:pt x="3548" y="1161"/>
                  </a:lnTo>
                  <a:lnTo>
                    <a:pt x="3187" y="1101"/>
                  </a:lnTo>
                  <a:lnTo>
                    <a:pt x="2840" y="1026"/>
                  </a:lnTo>
                  <a:lnTo>
                    <a:pt x="2505" y="954"/>
                  </a:lnTo>
                  <a:lnTo>
                    <a:pt x="2192" y="865"/>
                  </a:lnTo>
                  <a:lnTo>
                    <a:pt x="1889" y="775"/>
                  </a:lnTo>
                  <a:lnTo>
                    <a:pt x="1346" y="579"/>
                  </a:lnTo>
                  <a:lnTo>
                    <a:pt x="882" y="400"/>
                  </a:lnTo>
                  <a:lnTo>
                    <a:pt x="511" y="253"/>
                  </a:lnTo>
                  <a:lnTo>
                    <a:pt x="234" y="1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4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3" name="TextBox 22"/>
          <p:cNvSpPr txBox="1"/>
          <p:nvPr/>
        </p:nvSpPr>
        <p:spPr bwMode="gray">
          <a:xfrm>
            <a:off x="647430" y="651690"/>
            <a:ext cx="6015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7069418" y="2900292"/>
            <a:ext cx="6190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8060" y="927099"/>
            <a:ext cx="6160385" cy="2882179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387278" y="3809278"/>
            <a:ext cx="5646143" cy="333113"/>
          </a:xfrm>
        </p:spPr>
        <p:txBody>
          <a:bodyPr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866440" y="5000816"/>
            <a:ext cx="6343673" cy="101061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9FF7F-6988-44CC-821B-644E70CD2F73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465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Oval 10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5"/>
            <p:cNvSpPr/>
            <p:nvPr/>
          </p:nvSpPr>
          <p:spPr bwMode="gray">
            <a:xfrm rot="21010068">
              <a:off x="6359946" y="431124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7"/>
            <p:cNvSpPr/>
            <p:nvPr/>
          </p:nvSpPr>
          <p:spPr bwMode="gray">
            <a:xfrm>
              <a:off x="485023" y="4381500"/>
              <a:ext cx="8182128" cy="2130508"/>
            </a:xfrm>
            <a:custGeom>
              <a:avLst/>
              <a:gdLst/>
              <a:ahLst/>
              <a:cxnLst/>
              <a:rect l="l" t="t" r="r" b="b"/>
              <a:pathLst>
                <a:path w="10000" h="9621">
                  <a:moveTo>
                    <a:pt x="0" y="0"/>
                  </a:moveTo>
                  <a:lnTo>
                    <a:pt x="0" y="2411"/>
                  </a:lnTo>
                  <a:lnTo>
                    <a:pt x="0" y="9586"/>
                  </a:lnTo>
                  <a:lnTo>
                    <a:pt x="0" y="9621"/>
                  </a:lnTo>
                  <a:lnTo>
                    <a:pt x="10000" y="9585"/>
                  </a:lnTo>
                  <a:cubicBezTo>
                    <a:pt x="9997" y="8144"/>
                    <a:pt x="10003" y="9571"/>
                    <a:pt x="10000" y="9586"/>
                  </a:cubicBezTo>
                  <a:cubicBezTo>
                    <a:pt x="9997" y="7194"/>
                    <a:pt x="9993" y="4803"/>
                    <a:pt x="9990" y="2411"/>
                  </a:cubicBezTo>
                  <a:lnTo>
                    <a:pt x="9990" y="0"/>
                  </a:lnTo>
                  <a:lnTo>
                    <a:pt x="9990" y="0"/>
                  </a:lnTo>
                  <a:lnTo>
                    <a:pt x="9534" y="253"/>
                  </a:lnTo>
                  <a:lnTo>
                    <a:pt x="9084" y="477"/>
                  </a:lnTo>
                  <a:lnTo>
                    <a:pt x="8628" y="669"/>
                  </a:lnTo>
                  <a:lnTo>
                    <a:pt x="8177" y="847"/>
                  </a:lnTo>
                  <a:lnTo>
                    <a:pt x="7726" y="984"/>
                  </a:lnTo>
                  <a:lnTo>
                    <a:pt x="7279" y="1087"/>
                  </a:lnTo>
                  <a:lnTo>
                    <a:pt x="6832" y="1176"/>
                  </a:lnTo>
                  <a:lnTo>
                    <a:pt x="6393" y="1236"/>
                  </a:lnTo>
                  <a:lnTo>
                    <a:pt x="5962" y="1279"/>
                  </a:lnTo>
                  <a:lnTo>
                    <a:pt x="5534" y="1294"/>
                  </a:lnTo>
                  <a:lnTo>
                    <a:pt x="5120" y="1294"/>
                  </a:lnTo>
                  <a:lnTo>
                    <a:pt x="4709" y="1294"/>
                  </a:lnTo>
                  <a:lnTo>
                    <a:pt x="4311" y="1266"/>
                  </a:lnTo>
                  <a:lnTo>
                    <a:pt x="3923" y="1221"/>
                  </a:lnTo>
                  <a:lnTo>
                    <a:pt x="3548" y="1161"/>
                  </a:lnTo>
                  <a:lnTo>
                    <a:pt x="3187" y="1101"/>
                  </a:lnTo>
                  <a:lnTo>
                    <a:pt x="2840" y="1026"/>
                  </a:lnTo>
                  <a:lnTo>
                    <a:pt x="2505" y="954"/>
                  </a:lnTo>
                  <a:lnTo>
                    <a:pt x="2192" y="865"/>
                  </a:lnTo>
                  <a:lnTo>
                    <a:pt x="1889" y="775"/>
                  </a:lnTo>
                  <a:lnTo>
                    <a:pt x="1346" y="579"/>
                  </a:lnTo>
                  <a:lnTo>
                    <a:pt x="882" y="400"/>
                  </a:lnTo>
                  <a:lnTo>
                    <a:pt x="511" y="253"/>
                  </a:lnTo>
                  <a:lnTo>
                    <a:pt x="234" y="11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7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2057400"/>
            <a:ext cx="6422005" cy="20955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441" y="5024908"/>
            <a:ext cx="6422004" cy="994891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C299-16B2-4475-990D-751901EACC14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87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927100"/>
            <a:ext cx="6423593" cy="70986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440" y="2489200"/>
            <a:ext cx="2313432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5"/>
          </p:nvPr>
        </p:nvSpPr>
        <p:spPr>
          <a:xfrm>
            <a:off x="866440" y="3147164"/>
            <a:ext cx="2313432" cy="2888366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05614" y="2489200"/>
            <a:ext cx="2318918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6"/>
          </p:nvPr>
        </p:nvSpPr>
        <p:spPr>
          <a:xfrm>
            <a:off x="3408471" y="3147164"/>
            <a:ext cx="2318918" cy="2888366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58642" y="2489200"/>
            <a:ext cx="2318918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7"/>
          </p:nvPr>
        </p:nvSpPr>
        <p:spPr>
          <a:xfrm>
            <a:off x="5960935" y="3147164"/>
            <a:ext cx="2316625" cy="2888366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94530" y="2489201"/>
            <a:ext cx="0" cy="3546328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849521" y="2489201"/>
            <a:ext cx="0" cy="3546328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E86839-B9D8-4651-8783-F325ECE74E65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854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927100"/>
            <a:ext cx="6345260" cy="709864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440" y="4179596"/>
            <a:ext cx="2313432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19055" y="2489200"/>
            <a:ext cx="2015144" cy="1447342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66439" y="4837558"/>
            <a:ext cx="2313432" cy="1187321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11125" y="4179595"/>
            <a:ext cx="2318918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553189" y="2489200"/>
            <a:ext cx="2015144" cy="1447342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3411125" y="4848208"/>
            <a:ext cx="2318918" cy="1187321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58642" y="4179596"/>
            <a:ext cx="2318918" cy="657962"/>
          </a:xfrm>
        </p:spPr>
        <p:txBody>
          <a:bodyPr anchor="b">
            <a:noAutofit/>
          </a:bodyPr>
          <a:lstStyle>
            <a:lvl1pPr marL="0" indent="0">
              <a:buNone/>
              <a:defRPr sz="20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6108641" y="2489200"/>
            <a:ext cx="2015144" cy="1447342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5958642" y="4837558"/>
            <a:ext cx="2318918" cy="1187321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3290019" y="2489201"/>
            <a:ext cx="0" cy="3546328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5849521" y="2489201"/>
            <a:ext cx="0" cy="3546328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84F64-32F6-45C5-931F-ADC1662401D0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9089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1301" y="6387910"/>
            <a:ext cx="990599" cy="228659"/>
          </a:xfrm>
        </p:spPr>
        <p:txBody>
          <a:bodyPr/>
          <a:lstStyle/>
          <a:p>
            <a:fld id="{53086D93-FCAC-47E0-A2EE-787E62CA814C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6133" y="6387910"/>
            <a:ext cx="3859795" cy="228660"/>
          </a:xfrm>
        </p:spPr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5738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588" y="0"/>
            <a:ext cx="9120420" cy="6860798"/>
            <a:chOff x="-1588" y="0"/>
            <a:chExt cx="9120420" cy="6860798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Freeform 5"/>
            <p:cNvSpPr/>
            <p:nvPr/>
          </p:nvSpPr>
          <p:spPr bwMode="gray">
            <a:xfrm rot="4966650">
              <a:off x="4673046" y="5107506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</p:grpSp>
      <p:sp>
        <p:nvSpPr>
          <p:cNvPr id="17" name="Rectangle 16"/>
          <p:cNvSpPr/>
          <p:nvPr/>
        </p:nvSpPr>
        <p:spPr>
          <a:xfrm>
            <a:off x="414867" y="402165"/>
            <a:ext cx="4610565" cy="605367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Freeform 9"/>
          <p:cNvSpPr/>
          <p:nvPr/>
        </p:nvSpPr>
        <p:spPr bwMode="gray">
          <a:xfrm rot="5400000">
            <a:off x="1299309" y="1765596"/>
            <a:ext cx="5995993" cy="3326809"/>
          </a:xfrm>
          <a:custGeom>
            <a:avLst/>
            <a:gdLst/>
            <a:ahLst/>
            <a:cxnLst/>
            <a:rect l="0" t="0" r="r" b="b"/>
            <a:pathLst>
              <a:path w="4960" h="2752">
                <a:moveTo>
                  <a:pt x="0" y="0"/>
                </a:moveTo>
                <a:lnTo>
                  <a:pt x="0" y="324"/>
                </a:lnTo>
                <a:lnTo>
                  <a:pt x="0" y="1992"/>
                </a:lnTo>
                <a:lnTo>
                  <a:pt x="0" y="2752"/>
                </a:lnTo>
                <a:lnTo>
                  <a:pt x="4960" y="2752"/>
                </a:lnTo>
                <a:lnTo>
                  <a:pt x="4960" y="1992"/>
                </a:lnTo>
                <a:lnTo>
                  <a:pt x="4960" y="324"/>
                </a:lnTo>
                <a:lnTo>
                  <a:pt x="4960" y="0"/>
                </a:lnTo>
                <a:lnTo>
                  <a:pt x="4960" y="0"/>
                </a:lnTo>
                <a:lnTo>
                  <a:pt x="4734" y="34"/>
                </a:lnTo>
                <a:lnTo>
                  <a:pt x="4510" y="64"/>
                </a:lnTo>
                <a:lnTo>
                  <a:pt x="4284" y="90"/>
                </a:lnTo>
                <a:lnTo>
                  <a:pt x="4060" y="114"/>
                </a:lnTo>
                <a:lnTo>
                  <a:pt x="3836" y="132"/>
                </a:lnTo>
                <a:lnTo>
                  <a:pt x="3614" y="146"/>
                </a:lnTo>
                <a:lnTo>
                  <a:pt x="3392" y="158"/>
                </a:lnTo>
                <a:lnTo>
                  <a:pt x="3174" y="166"/>
                </a:lnTo>
                <a:lnTo>
                  <a:pt x="2960" y="172"/>
                </a:lnTo>
                <a:lnTo>
                  <a:pt x="2748" y="174"/>
                </a:lnTo>
                <a:lnTo>
                  <a:pt x="2542" y="174"/>
                </a:lnTo>
                <a:lnTo>
                  <a:pt x="2338" y="174"/>
                </a:lnTo>
                <a:lnTo>
                  <a:pt x="2140" y="170"/>
                </a:lnTo>
                <a:lnTo>
                  <a:pt x="1948" y="164"/>
                </a:lnTo>
                <a:lnTo>
                  <a:pt x="1762" y="156"/>
                </a:lnTo>
                <a:lnTo>
                  <a:pt x="1582" y="148"/>
                </a:lnTo>
                <a:lnTo>
                  <a:pt x="1410" y="138"/>
                </a:lnTo>
                <a:lnTo>
                  <a:pt x="1244" y="128"/>
                </a:lnTo>
                <a:lnTo>
                  <a:pt x="1088" y="116"/>
                </a:lnTo>
                <a:lnTo>
                  <a:pt x="938" y="104"/>
                </a:lnTo>
                <a:lnTo>
                  <a:pt x="668" y="78"/>
                </a:lnTo>
                <a:lnTo>
                  <a:pt x="438" y="54"/>
                </a:lnTo>
                <a:lnTo>
                  <a:pt x="254" y="34"/>
                </a:lnTo>
                <a:lnTo>
                  <a:pt x="116" y="16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18" name="Freeform 5"/>
          <p:cNvSpPr>
            <a:spLocks noEditPoints="1"/>
          </p:cNvSpPr>
          <p:nvPr/>
        </p:nvSpPr>
        <p:spPr bwMode="gray">
          <a:xfrm>
            <a:off x="0" y="0"/>
            <a:ext cx="9144000" cy="6858000"/>
          </a:xfrm>
          <a:custGeom>
            <a:avLst/>
            <a:gdLst/>
            <a:ahLst/>
            <a:cxnLst/>
            <a:rect l="0" t="0" r="r" b="b"/>
            <a:pathLst>
              <a:path w="5760" h="4320">
                <a:moveTo>
                  <a:pt x="0" y="0"/>
                </a:moveTo>
                <a:lnTo>
                  <a:pt x="0" y="4320"/>
                </a:lnTo>
                <a:lnTo>
                  <a:pt x="5760" y="4320"/>
                </a:lnTo>
                <a:lnTo>
                  <a:pt x="5760" y="0"/>
                </a:lnTo>
                <a:lnTo>
                  <a:pt x="0" y="0"/>
                </a:lnTo>
                <a:close/>
                <a:moveTo>
                  <a:pt x="5444" y="4004"/>
                </a:moveTo>
                <a:lnTo>
                  <a:pt x="324" y="4004"/>
                </a:lnTo>
                <a:lnTo>
                  <a:pt x="324" y="324"/>
                </a:lnTo>
                <a:lnTo>
                  <a:pt x="5444" y="324"/>
                </a:lnTo>
                <a:lnTo>
                  <a:pt x="5444" y="40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74928" y="1447799"/>
            <a:ext cx="1113516" cy="4572001"/>
          </a:xfrm>
        </p:spPr>
        <p:txBody>
          <a:bodyPr vert="eaVert" anchor="ctr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738" y="1447799"/>
            <a:ext cx="4416936" cy="457200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879A6-0FD0-4734-A311-86BFCA472E6E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8546" y="6365498"/>
            <a:ext cx="3859795" cy="228660"/>
          </a:xfrm>
        </p:spPr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352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3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+mj-lt"/>
              </a:rPr>
              <a:t>FSG.ORG</a:t>
            </a:r>
            <a:endParaRPr lang="en-US" sz="1100" b="1" dirty="0">
              <a:latin typeface="+mj-lt"/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/>
        </p:nvSpPr>
        <p:spPr bwMode="auto">
          <a:xfrm>
            <a:off x="8668708" y="64770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accent2">
                    <a:lumMod val="75000"/>
                  </a:schemeClr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© </a:t>
            </a:r>
            <a:r>
              <a:rPr lang="en-US" sz="60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2014 </a:t>
            </a:r>
            <a:r>
              <a:rPr lang="en-US" sz="6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8315007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970" y="927098"/>
            <a:ext cx="6343672" cy="709865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CA7B-DFD4-44B5-8C60-D14B8CD1FB59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489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>
            <a:xfrm>
              <a:off x="5283673" y="402165"/>
              <a:ext cx="3465769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 bwMode="gray">
            <a:xfrm rot="16200000">
              <a:off x="3105027" y="1765596"/>
              <a:ext cx="5995993" cy="3326809"/>
            </a:xfrm>
            <a:custGeom>
              <a:avLst/>
              <a:gdLst/>
              <a:ahLst/>
              <a:cxnLst/>
              <a:rect l="0" t="0" r="r" b="b"/>
              <a:pathLst>
                <a:path w="4960" h="2752">
                  <a:moveTo>
                    <a:pt x="0" y="0"/>
                  </a:moveTo>
                  <a:lnTo>
                    <a:pt x="0" y="324"/>
                  </a:lnTo>
                  <a:lnTo>
                    <a:pt x="0" y="1992"/>
                  </a:lnTo>
                  <a:lnTo>
                    <a:pt x="0" y="2752"/>
                  </a:lnTo>
                  <a:lnTo>
                    <a:pt x="4960" y="2752"/>
                  </a:lnTo>
                  <a:lnTo>
                    <a:pt x="4960" y="1992"/>
                  </a:lnTo>
                  <a:lnTo>
                    <a:pt x="4960" y="324"/>
                  </a:lnTo>
                  <a:lnTo>
                    <a:pt x="4960" y="0"/>
                  </a:lnTo>
                  <a:lnTo>
                    <a:pt x="4960" y="0"/>
                  </a:lnTo>
                  <a:lnTo>
                    <a:pt x="4734" y="34"/>
                  </a:lnTo>
                  <a:lnTo>
                    <a:pt x="4510" y="64"/>
                  </a:lnTo>
                  <a:lnTo>
                    <a:pt x="4284" y="90"/>
                  </a:lnTo>
                  <a:lnTo>
                    <a:pt x="4060" y="114"/>
                  </a:lnTo>
                  <a:lnTo>
                    <a:pt x="3836" y="132"/>
                  </a:lnTo>
                  <a:lnTo>
                    <a:pt x="3614" y="146"/>
                  </a:lnTo>
                  <a:lnTo>
                    <a:pt x="3392" y="158"/>
                  </a:lnTo>
                  <a:lnTo>
                    <a:pt x="3174" y="166"/>
                  </a:lnTo>
                  <a:lnTo>
                    <a:pt x="2960" y="172"/>
                  </a:lnTo>
                  <a:lnTo>
                    <a:pt x="2748" y="174"/>
                  </a:lnTo>
                  <a:lnTo>
                    <a:pt x="2542" y="174"/>
                  </a:lnTo>
                  <a:lnTo>
                    <a:pt x="2338" y="174"/>
                  </a:lnTo>
                  <a:lnTo>
                    <a:pt x="2140" y="170"/>
                  </a:lnTo>
                  <a:lnTo>
                    <a:pt x="1948" y="164"/>
                  </a:lnTo>
                  <a:lnTo>
                    <a:pt x="1762" y="156"/>
                  </a:lnTo>
                  <a:lnTo>
                    <a:pt x="1582" y="148"/>
                  </a:lnTo>
                  <a:lnTo>
                    <a:pt x="1410" y="138"/>
                  </a:lnTo>
                  <a:lnTo>
                    <a:pt x="1244" y="128"/>
                  </a:lnTo>
                  <a:lnTo>
                    <a:pt x="1088" y="116"/>
                  </a:lnTo>
                  <a:lnTo>
                    <a:pt x="938" y="104"/>
                  </a:lnTo>
                  <a:lnTo>
                    <a:pt x="668" y="78"/>
                  </a:lnTo>
                  <a:lnTo>
                    <a:pt x="438" y="54"/>
                  </a:lnTo>
                  <a:lnTo>
                    <a:pt x="254" y="34"/>
                  </a:lnTo>
                  <a:lnTo>
                    <a:pt x="11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/>
            <p:nvPr/>
          </p:nvSpPr>
          <p:spPr bwMode="gray">
            <a:xfrm rot="15687606">
              <a:off x="3320102" y="145837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7534" y="2257588"/>
            <a:ext cx="3090672" cy="3020344"/>
          </a:xfrm>
        </p:spPr>
        <p:txBody>
          <a:bodyPr anchor="ctr"/>
          <a:lstStyle>
            <a:lvl1pPr algn="l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19261" y="2257588"/>
            <a:ext cx="3082516" cy="302034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E6425-0181-43F2-84FC-787E803FD2F8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201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440" y="2489200"/>
            <a:ext cx="3636980" cy="3530603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581" y="2489203"/>
            <a:ext cx="3636980" cy="353060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B8791-F1B0-41E7-B7FD-A781E65C4266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1799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9918" y="2489200"/>
            <a:ext cx="3633502" cy="759290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6440" y="3248490"/>
            <a:ext cx="3636980" cy="2771311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0581" y="2489200"/>
            <a:ext cx="3636979" cy="75663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0581" y="3245835"/>
            <a:ext cx="3636980" cy="277396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D63B2-E120-4ED8-B27B-C685F510A5FE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012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18ACC-A947-437B-A130-35BD54FDF1E9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205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7E02-BCB8-4D50-A234-369438C08659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992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>
            <a:xfrm>
              <a:off x="5283673" y="402165"/>
              <a:ext cx="3465769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 bwMode="gray">
            <a:xfrm rot="16200000">
              <a:off x="2548536" y="1765596"/>
              <a:ext cx="5995993" cy="3326809"/>
            </a:xfrm>
            <a:custGeom>
              <a:avLst/>
              <a:gdLst/>
              <a:ahLst/>
              <a:cxnLst/>
              <a:rect l="0" t="0" r="r" b="b"/>
              <a:pathLst>
                <a:path w="4960" h="2752">
                  <a:moveTo>
                    <a:pt x="0" y="0"/>
                  </a:moveTo>
                  <a:lnTo>
                    <a:pt x="0" y="324"/>
                  </a:lnTo>
                  <a:lnTo>
                    <a:pt x="0" y="1992"/>
                  </a:lnTo>
                  <a:lnTo>
                    <a:pt x="0" y="2752"/>
                  </a:lnTo>
                  <a:lnTo>
                    <a:pt x="4960" y="2752"/>
                  </a:lnTo>
                  <a:lnTo>
                    <a:pt x="4960" y="1992"/>
                  </a:lnTo>
                  <a:lnTo>
                    <a:pt x="4960" y="324"/>
                  </a:lnTo>
                  <a:lnTo>
                    <a:pt x="4960" y="0"/>
                  </a:lnTo>
                  <a:lnTo>
                    <a:pt x="4960" y="0"/>
                  </a:lnTo>
                  <a:lnTo>
                    <a:pt x="4734" y="34"/>
                  </a:lnTo>
                  <a:lnTo>
                    <a:pt x="4510" y="64"/>
                  </a:lnTo>
                  <a:lnTo>
                    <a:pt x="4284" y="90"/>
                  </a:lnTo>
                  <a:lnTo>
                    <a:pt x="4060" y="114"/>
                  </a:lnTo>
                  <a:lnTo>
                    <a:pt x="3836" y="132"/>
                  </a:lnTo>
                  <a:lnTo>
                    <a:pt x="3614" y="146"/>
                  </a:lnTo>
                  <a:lnTo>
                    <a:pt x="3392" y="158"/>
                  </a:lnTo>
                  <a:lnTo>
                    <a:pt x="3174" y="166"/>
                  </a:lnTo>
                  <a:lnTo>
                    <a:pt x="2960" y="172"/>
                  </a:lnTo>
                  <a:lnTo>
                    <a:pt x="2748" y="174"/>
                  </a:lnTo>
                  <a:lnTo>
                    <a:pt x="2542" y="174"/>
                  </a:lnTo>
                  <a:lnTo>
                    <a:pt x="2338" y="174"/>
                  </a:lnTo>
                  <a:lnTo>
                    <a:pt x="2140" y="170"/>
                  </a:lnTo>
                  <a:lnTo>
                    <a:pt x="1948" y="164"/>
                  </a:lnTo>
                  <a:lnTo>
                    <a:pt x="1762" y="156"/>
                  </a:lnTo>
                  <a:lnTo>
                    <a:pt x="1582" y="148"/>
                  </a:lnTo>
                  <a:lnTo>
                    <a:pt x="1410" y="138"/>
                  </a:lnTo>
                  <a:lnTo>
                    <a:pt x="1244" y="128"/>
                  </a:lnTo>
                  <a:lnTo>
                    <a:pt x="1088" y="116"/>
                  </a:lnTo>
                  <a:lnTo>
                    <a:pt x="938" y="104"/>
                  </a:lnTo>
                  <a:lnTo>
                    <a:pt x="668" y="78"/>
                  </a:lnTo>
                  <a:lnTo>
                    <a:pt x="438" y="54"/>
                  </a:lnTo>
                  <a:lnTo>
                    <a:pt x="254" y="34"/>
                  </a:lnTo>
                  <a:lnTo>
                    <a:pt x="11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2" name="Freeform 5"/>
            <p:cNvSpPr/>
            <p:nvPr/>
          </p:nvSpPr>
          <p:spPr bwMode="gray">
            <a:xfrm rot="15687606">
              <a:off x="2769747" y="145837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1447800"/>
            <a:ext cx="2712590" cy="1495588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68927" y="1447800"/>
            <a:ext cx="3632850" cy="4572000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866441" y="3086845"/>
            <a:ext cx="2712589" cy="2933701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86A4C-8E40-4F87-A4F0-01A0687C5742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554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>
            <a:xfrm>
              <a:off x="5283673" y="402165"/>
              <a:ext cx="3465769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 bwMode="gray">
            <a:xfrm rot="16200000">
              <a:off x="2852610" y="1765596"/>
              <a:ext cx="5995993" cy="3326809"/>
            </a:xfrm>
            <a:custGeom>
              <a:avLst/>
              <a:gdLst/>
              <a:ahLst/>
              <a:cxnLst/>
              <a:rect l="0" t="0" r="r" b="b"/>
              <a:pathLst>
                <a:path w="4960" h="2752">
                  <a:moveTo>
                    <a:pt x="0" y="0"/>
                  </a:moveTo>
                  <a:lnTo>
                    <a:pt x="0" y="324"/>
                  </a:lnTo>
                  <a:lnTo>
                    <a:pt x="0" y="1992"/>
                  </a:lnTo>
                  <a:lnTo>
                    <a:pt x="0" y="2752"/>
                  </a:lnTo>
                  <a:lnTo>
                    <a:pt x="4960" y="2752"/>
                  </a:lnTo>
                  <a:lnTo>
                    <a:pt x="4960" y="1992"/>
                  </a:lnTo>
                  <a:lnTo>
                    <a:pt x="4960" y="324"/>
                  </a:lnTo>
                  <a:lnTo>
                    <a:pt x="4960" y="0"/>
                  </a:lnTo>
                  <a:lnTo>
                    <a:pt x="4960" y="0"/>
                  </a:lnTo>
                  <a:lnTo>
                    <a:pt x="4734" y="34"/>
                  </a:lnTo>
                  <a:lnTo>
                    <a:pt x="4510" y="64"/>
                  </a:lnTo>
                  <a:lnTo>
                    <a:pt x="4284" y="90"/>
                  </a:lnTo>
                  <a:lnTo>
                    <a:pt x="4060" y="114"/>
                  </a:lnTo>
                  <a:lnTo>
                    <a:pt x="3836" y="132"/>
                  </a:lnTo>
                  <a:lnTo>
                    <a:pt x="3614" y="146"/>
                  </a:lnTo>
                  <a:lnTo>
                    <a:pt x="3392" y="158"/>
                  </a:lnTo>
                  <a:lnTo>
                    <a:pt x="3174" y="166"/>
                  </a:lnTo>
                  <a:lnTo>
                    <a:pt x="2960" y="172"/>
                  </a:lnTo>
                  <a:lnTo>
                    <a:pt x="2748" y="174"/>
                  </a:lnTo>
                  <a:lnTo>
                    <a:pt x="2542" y="174"/>
                  </a:lnTo>
                  <a:lnTo>
                    <a:pt x="2338" y="174"/>
                  </a:lnTo>
                  <a:lnTo>
                    <a:pt x="2140" y="170"/>
                  </a:lnTo>
                  <a:lnTo>
                    <a:pt x="1948" y="164"/>
                  </a:lnTo>
                  <a:lnTo>
                    <a:pt x="1762" y="156"/>
                  </a:lnTo>
                  <a:lnTo>
                    <a:pt x="1582" y="148"/>
                  </a:lnTo>
                  <a:lnTo>
                    <a:pt x="1410" y="138"/>
                  </a:lnTo>
                  <a:lnTo>
                    <a:pt x="1244" y="128"/>
                  </a:lnTo>
                  <a:lnTo>
                    <a:pt x="1088" y="116"/>
                  </a:lnTo>
                  <a:lnTo>
                    <a:pt x="938" y="104"/>
                  </a:lnTo>
                  <a:lnTo>
                    <a:pt x="668" y="78"/>
                  </a:lnTo>
                  <a:lnTo>
                    <a:pt x="438" y="54"/>
                  </a:lnTo>
                  <a:lnTo>
                    <a:pt x="254" y="34"/>
                  </a:lnTo>
                  <a:lnTo>
                    <a:pt x="11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4" name="Freeform 5"/>
            <p:cNvSpPr/>
            <p:nvPr/>
          </p:nvSpPr>
          <p:spPr bwMode="gray">
            <a:xfrm rot="15687606">
              <a:off x="3074559" y="145837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440" y="1381390"/>
            <a:ext cx="2987089" cy="157480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722909" y="1320800"/>
            <a:ext cx="2791102" cy="42164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6440" y="3086100"/>
            <a:ext cx="2987089" cy="24511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72C73-2D91-4E12-BA25-F0AA0C03599B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678616" y="295730"/>
            <a:ext cx="791308" cy="767687"/>
          </a:xfrm>
          <a:prstGeom prst="rect">
            <a:avLst/>
          </a:prstGeom>
        </p:spPr>
        <p:txBody>
          <a:bodyPr/>
          <a:lstStyle>
            <a:lvl1pPr algn="ctr">
              <a:defRPr sz="280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726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-1588" y="0"/>
            <a:ext cx="9145588" cy="6860798"/>
            <a:chOff x="-1588" y="0"/>
            <a:chExt cx="9145588" cy="6860798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9118832" cy="6858000"/>
            </a:xfrm>
            <a:prstGeom prst="rect">
              <a:avLst/>
            </a:prstGeom>
            <a:blipFill>
              <a:blip r:embed="rId20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rcRect/>
              <a:stretch>
                <a:fillRect l="-16713" r="-1698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629943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5689832" y="0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6299432" y="5870198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Freeform 5"/>
            <p:cNvSpPr/>
            <p:nvPr/>
          </p:nvSpPr>
          <p:spPr bwMode="gray">
            <a:xfrm rot="21010068">
              <a:off x="6359946" y="1790293"/>
              <a:ext cx="2377690" cy="317748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25" name="Freeform 24"/>
            <p:cNvSpPr/>
            <p:nvPr/>
          </p:nvSpPr>
          <p:spPr bwMode="gray">
            <a:xfrm>
              <a:off x="485023" y="1856450"/>
              <a:ext cx="8173954" cy="4535226"/>
            </a:xfrm>
            <a:custGeom>
              <a:avLst/>
              <a:gdLst/>
              <a:ahLst/>
              <a:cxnLst/>
              <a:rect l="0" t="0" r="r" b="b"/>
              <a:pathLst>
                <a:path w="4960" h="2752">
                  <a:moveTo>
                    <a:pt x="0" y="0"/>
                  </a:moveTo>
                  <a:lnTo>
                    <a:pt x="0" y="324"/>
                  </a:lnTo>
                  <a:lnTo>
                    <a:pt x="0" y="1992"/>
                  </a:lnTo>
                  <a:lnTo>
                    <a:pt x="0" y="2752"/>
                  </a:lnTo>
                  <a:lnTo>
                    <a:pt x="4960" y="2752"/>
                  </a:lnTo>
                  <a:lnTo>
                    <a:pt x="4960" y="1992"/>
                  </a:lnTo>
                  <a:lnTo>
                    <a:pt x="4960" y="324"/>
                  </a:lnTo>
                  <a:lnTo>
                    <a:pt x="4960" y="0"/>
                  </a:lnTo>
                  <a:lnTo>
                    <a:pt x="4960" y="0"/>
                  </a:lnTo>
                  <a:lnTo>
                    <a:pt x="4734" y="34"/>
                  </a:lnTo>
                  <a:lnTo>
                    <a:pt x="4510" y="64"/>
                  </a:lnTo>
                  <a:lnTo>
                    <a:pt x="4284" y="90"/>
                  </a:lnTo>
                  <a:lnTo>
                    <a:pt x="4060" y="114"/>
                  </a:lnTo>
                  <a:lnTo>
                    <a:pt x="3836" y="132"/>
                  </a:lnTo>
                  <a:lnTo>
                    <a:pt x="3614" y="146"/>
                  </a:lnTo>
                  <a:lnTo>
                    <a:pt x="3392" y="158"/>
                  </a:lnTo>
                  <a:lnTo>
                    <a:pt x="3174" y="166"/>
                  </a:lnTo>
                  <a:lnTo>
                    <a:pt x="2960" y="172"/>
                  </a:lnTo>
                  <a:lnTo>
                    <a:pt x="2748" y="174"/>
                  </a:lnTo>
                  <a:lnTo>
                    <a:pt x="2542" y="174"/>
                  </a:lnTo>
                  <a:lnTo>
                    <a:pt x="2338" y="174"/>
                  </a:lnTo>
                  <a:lnTo>
                    <a:pt x="2140" y="170"/>
                  </a:lnTo>
                  <a:lnTo>
                    <a:pt x="1948" y="164"/>
                  </a:lnTo>
                  <a:lnTo>
                    <a:pt x="1762" y="156"/>
                  </a:lnTo>
                  <a:lnTo>
                    <a:pt x="1582" y="148"/>
                  </a:lnTo>
                  <a:lnTo>
                    <a:pt x="1410" y="138"/>
                  </a:lnTo>
                  <a:lnTo>
                    <a:pt x="1244" y="128"/>
                  </a:lnTo>
                  <a:lnTo>
                    <a:pt x="1088" y="116"/>
                  </a:lnTo>
                  <a:lnTo>
                    <a:pt x="938" y="104"/>
                  </a:lnTo>
                  <a:lnTo>
                    <a:pt x="668" y="78"/>
                  </a:lnTo>
                  <a:lnTo>
                    <a:pt x="438" y="54"/>
                  </a:lnTo>
                  <a:lnTo>
                    <a:pt x="254" y="34"/>
                  </a:lnTo>
                  <a:lnTo>
                    <a:pt x="11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0" t="0" r="r" b="b"/>
              <a:pathLst>
                <a:path w="5760" h="4320">
                  <a:moveTo>
                    <a:pt x="0" y="0"/>
                  </a:moveTo>
                  <a:lnTo>
                    <a:pt x="0" y="4320"/>
                  </a:lnTo>
                  <a:lnTo>
                    <a:pt x="5760" y="4320"/>
                  </a:lnTo>
                  <a:lnTo>
                    <a:pt x="5760" y="0"/>
                  </a:lnTo>
                  <a:lnTo>
                    <a:pt x="0" y="0"/>
                  </a:lnTo>
                  <a:close/>
                  <a:moveTo>
                    <a:pt x="5444" y="4004"/>
                  </a:moveTo>
                  <a:lnTo>
                    <a:pt x="324" y="4004"/>
                  </a:lnTo>
                  <a:lnTo>
                    <a:pt x="324" y="324"/>
                  </a:lnTo>
                  <a:lnTo>
                    <a:pt x="5444" y="324"/>
                  </a:lnTo>
                  <a:lnTo>
                    <a:pt x="5444" y="40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66440" y="927099"/>
            <a:ext cx="6345260" cy="7098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4382" y="2489200"/>
            <a:ext cx="6345260" cy="353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74443" y="6365498"/>
            <a:ext cx="990599" cy="22865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 b="1" i="0">
                <a:solidFill>
                  <a:schemeClr val="accent1"/>
                </a:solidFill>
              </a:defRPr>
            </a:lvl1pPr>
          </a:lstStyle>
          <a:p>
            <a:fld id="{2BE451C3-0FF4-47C4-B829-773ADF60F88C}" type="datetimeFigureOut">
              <a:rPr lang="en-US" smtClean="0"/>
              <a:t>1/8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0843" y="6365497"/>
            <a:ext cx="3859795" cy="2286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 b="1" i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
              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7745644" y="0"/>
            <a:ext cx="685800" cy="1099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7678616" y="295730"/>
            <a:ext cx="791308" cy="767687"/>
          </a:xfrm>
          <a:prstGeom prst="rect">
            <a:avLst/>
          </a:prstGeom>
        </p:spPr>
        <p:txBody>
          <a:bodyPr anchor="b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32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200" b="0" i="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83464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6012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3444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0876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0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5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4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hyperlink" Target="http://s.socialinnovation.ca/files/Constellation%20Paper%20-%20Surman%20-%20Jun%202008%20SI%20Journal_0.pdf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946200" y="544829"/>
            <a:ext cx="7252334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2000" b="1" spc="-10" dirty="0">
                <a:solidFill>
                  <a:schemeClr val="bg1"/>
                </a:solidFill>
                <a:latin typeface="Arial"/>
                <a:cs typeface="Arial"/>
              </a:rPr>
              <a:t>P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artners</a:t>
            </a:r>
            <a:r>
              <a:rPr sz="2000" b="1" spc="-1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Are</a:t>
            </a:r>
            <a:r>
              <a:rPr sz="2000" b="1" spc="-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chemeClr val="bg1"/>
                </a:solidFill>
                <a:latin typeface="Arial"/>
                <a:cs typeface="Arial"/>
              </a:rPr>
              <a:t>E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ngaged</a:t>
            </a:r>
            <a:r>
              <a:rPr sz="2000" b="1" spc="-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at</a:t>
            </a:r>
            <a:r>
              <a:rPr sz="2000" b="1" spc="-3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Mu</a:t>
            </a:r>
            <a:r>
              <a:rPr sz="2000" b="1" spc="-10" dirty="0">
                <a:solidFill>
                  <a:schemeClr val="bg1"/>
                </a:solidFill>
                <a:latin typeface="Arial"/>
                <a:cs typeface="Arial"/>
              </a:rPr>
              <a:t>l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tip</a:t>
            </a:r>
            <a:r>
              <a:rPr sz="2000" b="1" spc="-10" dirty="0">
                <a:solidFill>
                  <a:schemeClr val="bg1"/>
                </a:solidFill>
                <a:latin typeface="Arial"/>
                <a:cs typeface="Arial"/>
              </a:rPr>
              <a:t>l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e</a:t>
            </a:r>
            <a:r>
              <a:rPr sz="2000" b="1" spc="-3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Le</a:t>
            </a:r>
            <a:r>
              <a:rPr sz="2000" b="1" spc="-25" dirty="0">
                <a:solidFill>
                  <a:schemeClr val="bg1"/>
                </a:solidFill>
                <a:latin typeface="Arial"/>
                <a:cs typeface="Arial"/>
              </a:rPr>
              <a:t>v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els,</a:t>
            </a:r>
            <a:r>
              <a:rPr sz="2000" b="1" spc="-3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spc="40" dirty="0">
                <a:solidFill>
                  <a:schemeClr val="bg1"/>
                </a:solidFill>
                <a:latin typeface="Arial"/>
                <a:cs typeface="Arial"/>
              </a:rPr>
              <a:t>w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sz="2000" b="1" spc="-15" dirty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h</a:t>
            </a:r>
            <a:r>
              <a:rPr sz="2000" b="1" spc="-4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the</a:t>
            </a:r>
            <a:r>
              <a:rPr sz="2000" b="1" spc="-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Backbone</a:t>
            </a:r>
            <a:endParaRPr sz="2000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>
              <a:lnSpc>
                <a:spcPts val="2380"/>
              </a:lnSpc>
              <a:tabLst>
                <a:tab pos="5443855" algn="l"/>
              </a:tabLst>
            </a:pP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Coordinating</a:t>
            </a:r>
            <a:r>
              <a:rPr sz="2000" b="1" spc="-3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the</a:t>
            </a:r>
            <a:r>
              <a:rPr sz="2000" b="1" spc="-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spc="-114" dirty="0">
                <a:solidFill>
                  <a:schemeClr val="bg1"/>
                </a:solidFill>
                <a:latin typeface="Arial"/>
                <a:cs typeface="Arial"/>
              </a:rPr>
              <a:t>V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arious</a:t>
            </a:r>
            <a:r>
              <a:rPr sz="2000" b="1" spc="-2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Leaders,</a:t>
            </a:r>
            <a:r>
              <a:rPr sz="2000" b="1" spc="-2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Partners,	and</a:t>
            </a:r>
            <a:r>
              <a:rPr sz="2000" b="1" spc="-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chemeClr val="bg1"/>
                </a:solidFill>
                <a:latin typeface="Arial"/>
                <a:cs typeface="Arial"/>
              </a:rPr>
              <a:t>Groups</a:t>
            </a:r>
            <a:endParaRPr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505200" y="2959989"/>
            <a:ext cx="2540" cy="607060"/>
          </a:xfrm>
          <a:custGeom>
            <a:avLst/>
            <a:gdLst/>
            <a:ahLst/>
            <a:cxnLst/>
            <a:rect l="l" t="t" r="r" b="b"/>
            <a:pathLst>
              <a:path w="2539" h="607060">
                <a:moveTo>
                  <a:pt x="0" y="606678"/>
                </a:moveTo>
                <a:lnTo>
                  <a:pt x="2159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533269" y="2666873"/>
            <a:ext cx="0" cy="899794"/>
          </a:xfrm>
          <a:custGeom>
            <a:avLst/>
            <a:gdLst/>
            <a:ahLst/>
            <a:cxnLst/>
            <a:rect l="l" t="t" r="r" b="b"/>
            <a:pathLst>
              <a:path h="899795">
                <a:moveTo>
                  <a:pt x="0" y="899794"/>
                </a:moveTo>
                <a:lnTo>
                  <a:pt x="0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540510" y="2959989"/>
            <a:ext cx="2540" cy="607060"/>
          </a:xfrm>
          <a:custGeom>
            <a:avLst/>
            <a:gdLst/>
            <a:ahLst/>
            <a:cxnLst/>
            <a:rect l="l" t="t" r="r" b="b"/>
            <a:pathLst>
              <a:path w="2540" h="607060">
                <a:moveTo>
                  <a:pt x="0" y="606678"/>
                </a:moveTo>
                <a:lnTo>
                  <a:pt x="2159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542669" y="2959989"/>
            <a:ext cx="1965960" cy="0"/>
          </a:xfrm>
          <a:custGeom>
            <a:avLst/>
            <a:gdLst/>
            <a:ahLst/>
            <a:cxnLst/>
            <a:rect l="l" t="t" r="r" b="b"/>
            <a:pathLst>
              <a:path w="1965960">
                <a:moveTo>
                  <a:pt x="0" y="0"/>
                </a:moveTo>
                <a:lnTo>
                  <a:pt x="1965706" y="0"/>
                </a:lnTo>
              </a:path>
            </a:pathLst>
          </a:custGeom>
          <a:ln w="38100">
            <a:solidFill>
              <a:srgbClr val="7E7E7E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50126" y="1916557"/>
            <a:ext cx="524510" cy="3950970"/>
          </a:xfrm>
          <a:custGeom>
            <a:avLst/>
            <a:gdLst/>
            <a:ahLst/>
            <a:cxnLst/>
            <a:rect l="l" t="t" r="r" b="b"/>
            <a:pathLst>
              <a:path w="524510" h="3950970">
                <a:moveTo>
                  <a:pt x="437070" y="0"/>
                </a:moveTo>
                <a:lnTo>
                  <a:pt x="76596" y="664"/>
                </a:lnTo>
                <a:lnTo>
                  <a:pt x="37551" y="15642"/>
                </a:lnTo>
                <a:lnTo>
                  <a:pt x="10265" y="46355"/>
                </a:lnTo>
                <a:lnTo>
                  <a:pt x="0" y="87502"/>
                </a:lnTo>
                <a:lnTo>
                  <a:pt x="654" y="3874180"/>
                </a:lnTo>
                <a:lnTo>
                  <a:pt x="15585" y="3913256"/>
                </a:lnTo>
                <a:lnTo>
                  <a:pt x="46262" y="3940567"/>
                </a:lnTo>
                <a:lnTo>
                  <a:pt x="87414" y="3950842"/>
                </a:lnTo>
                <a:lnTo>
                  <a:pt x="447822" y="3950188"/>
                </a:lnTo>
                <a:lnTo>
                  <a:pt x="486898" y="3935257"/>
                </a:lnTo>
                <a:lnTo>
                  <a:pt x="514209" y="3904580"/>
                </a:lnTo>
                <a:lnTo>
                  <a:pt x="524484" y="3863428"/>
                </a:lnTo>
                <a:lnTo>
                  <a:pt x="523821" y="76686"/>
                </a:lnTo>
                <a:lnTo>
                  <a:pt x="508875" y="37616"/>
                </a:lnTo>
                <a:lnTo>
                  <a:pt x="478203" y="10287"/>
                </a:lnTo>
                <a:lnTo>
                  <a:pt x="437070" y="0"/>
                </a:lnTo>
                <a:close/>
              </a:path>
            </a:pathLst>
          </a:custGeom>
          <a:solidFill>
            <a:srgbClr val="BBE2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50126" y="1916557"/>
            <a:ext cx="524510" cy="3950970"/>
          </a:xfrm>
          <a:custGeom>
            <a:avLst/>
            <a:gdLst/>
            <a:ahLst/>
            <a:cxnLst/>
            <a:rect l="l" t="t" r="r" b="b"/>
            <a:pathLst>
              <a:path w="524510" h="3950970">
                <a:moveTo>
                  <a:pt x="0" y="87502"/>
                </a:moveTo>
                <a:lnTo>
                  <a:pt x="10265" y="46355"/>
                </a:lnTo>
                <a:lnTo>
                  <a:pt x="37551" y="15642"/>
                </a:lnTo>
                <a:lnTo>
                  <a:pt x="76596" y="664"/>
                </a:lnTo>
                <a:lnTo>
                  <a:pt x="437070" y="0"/>
                </a:lnTo>
                <a:lnTo>
                  <a:pt x="451619" y="1208"/>
                </a:lnTo>
                <a:lnTo>
                  <a:pt x="489849" y="17765"/>
                </a:lnTo>
                <a:lnTo>
                  <a:pt x="515864" y="49597"/>
                </a:lnTo>
                <a:lnTo>
                  <a:pt x="524484" y="3863428"/>
                </a:lnTo>
                <a:lnTo>
                  <a:pt x="523277" y="3877984"/>
                </a:lnTo>
                <a:lnTo>
                  <a:pt x="506738" y="3916230"/>
                </a:lnTo>
                <a:lnTo>
                  <a:pt x="474920" y="3942244"/>
                </a:lnTo>
                <a:lnTo>
                  <a:pt x="87414" y="3950842"/>
                </a:lnTo>
                <a:lnTo>
                  <a:pt x="72858" y="3949636"/>
                </a:lnTo>
                <a:lnTo>
                  <a:pt x="34612" y="3933096"/>
                </a:lnTo>
                <a:lnTo>
                  <a:pt x="8598" y="3901278"/>
                </a:lnTo>
                <a:lnTo>
                  <a:pt x="0" y="87502"/>
                </a:lnTo>
                <a:close/>
              </a:path>
            </a:pathLst>
          </a:custGeom>
          <a:ln w="25400">
            <a:solidFill>
              <a:srgbClr val="BBE2FF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636219" y="2195321"/>
            <a:ext cx="1543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B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36219" y="2622041"/>
            <a:ext cx="1543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A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36219" y="3049142"/>
            <a:ext cx="1543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C</a:t>
            </a:r>
            <a:endParaRPr sz="14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36219" y="3475863"/>
            <a:ext cx="1543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K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36219" y="3902582"/>
            <a:ext cx="1543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B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30123" y="4329557"/>
            <a:ext cx="16446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O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36219" y="4756277"/>
            <a:ext cx="15430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40791" y="5182996"/>
            <a:ext cx="144780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E</a:t>
            </a:r>
            <a:endParaRPr sz="14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180238" y="1916557"/>
            <a:ext cx="2719070" cy="810895"/>
          </a:xfrm>
          <a:custGeom>
            <a:avLst/>
            <a:gdLst/>
            <a:ahLst/>
            <a:cxnLst/>
            <a:rect l="l" t="t" r="r" b="b"/>
            <a:pathLst>
              <a:path w="2719070" h="810894">
                <a:moveTo>
                  <a:pt x="2583787" y="0"/>
                </a:moveTo>
                <a:lnTo>
                  <a:pt x="134419" y="1"/>
                </a:lnTo>
                <a:lnTo>
                  <a:pt x="91904" y="7060"/>
                </a:lnTo>
                <a:lnTo>
                  <a:pt x="55000" y="26320"/>
                </a:lnTo>
                <a:lnTo>
                  <a:pt x="25912" y="55562"/>
                </a:lnTo>
                <a:lnTo>
                  <a:pt x="6844" y="92570"/>
                </a:lnTo>
                <a:lnTo>
                  <a:pt x="30" y="134531"/>
                </a:lnTo>
                <a:lnTo>
                  <a:pt x="0" y="676067"/>
                </a:lnTo>
                <a:lnTo>
                  <a:pt x="859" y="690736"/>
                </a:lnTo>
                <a:lnTo>
                  <a:pt x="12216" y="731642"/>
                </a:lnTo>
                <a:lnTo>
                  <a:pt x="35027" y="766191"/>
                </a:lnTo>
                <a:lnTo>
                  <a:pt x="67090" y="792182"/>
                </a:lnTo>
                <a:lnTo>
                  <a:pt x="106200" y="807418"/>
                </a:lnTo>
                <a:lnTo>
                  <a:pt x="135100" y="810513"/>
                </a:lnTo>
                <a:lnTo>
                  <a:pt x="2584384" y="810512"/>
                </a:lnTo>
                <a:lnTo>
                  <a:pt x="2626884" y="803485"/>
                </a:lnTo>
                <a:lnTo>
                  <a:pt x="2663781" y="784258"/>
                </a:lnTo>
                <a:lnTo>
                  <a:pt x="2692869" y="755031"/>
                </a:lnTo>
                <a:lnTo>
                  <a:pt x="2711941" y="718007"/>
                </a:lnTo>
                <a:lnTo>
                  <a:pt x="2718752" y="676067"/>
                </a:lnTo>
                <a:lnTo>
                  <a:pt x="2718787" y="134531"/>
                </a:lnTo>
                <a:lnTo>
                  <a:pt x="2717936" y="119876"/>
                </a:lnTo>
                <a:lnTo>
                  <a:pt x="2706600" y="78978"/>
                </a:lnTo>
                <a:lnTo>
                  <a:pt x="2683806" y="44404"/>
                </a:lnTo>
                <a:lnTo>
                  <a:pt x="2651760" y="18372"/>
                </a:lnTo>
                <a:lnTo>
                  <a:pt x="2612671" y="3104"/>
                </a:lnTo>
                <a:lnTo>
                  <a:pt x="2583787" y="0"/>
                </a:lnTo>
                <a:close/>
              </a:path>
            </a:pathLst>
          </a:custGeom>
          <a:solidFill>
            <a:srgbClr val="FBC999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180236" y="1916557"/>
            <a:ext cx="2719070" cy="810895"/>
          </a:xfrm>
          <a:custGeom>
            <a:avLst/>
            <a:gdLst/>
            <a:ahLst/>
            <a:cxnLst/>
            <a:rect l="l" t="t" r="r" b="b"/>
            <a:pathLst>
              <a:path w="2719070" h="810894">
                <a:moveTo>
                  <a:pt x="0" y="135127"/>
                </a:moveTo>
                <a:lnTo>
                  <a:pt x="6845" y="92570"/>
                </a:lnTo>
                <a:lnTo>
                  <a:pt x="25914" y="55562"/>
                </a:lnTo>
                <a:lnTo>
                  <a:pt x="55002" y="26320"/>
                </a:lnTo>
                <a:lnTo>
                  <a:pt x="91905" y="7060"/>
                </a:lnTo>
                <a:lnTo>
                  <a:pt x="134421" y="1"/>
                </a:lnTo>
                <a:lnTo>
                  <a:pt x="2583789" y="0"/>
                </a:lnTo>
                <a:lnTo>
                  <a:pt x="2598459" y="789"/>
                </a:lnTo>
                <a:lnTo>
                  <a:pt x="2639406" y="11977"/>
                </a:lnTo>
                <a:lnTo>
                  <a:pt x="2674045" y="34668"/>
                </a:lnTo>
                <a:lnTo>
                  <a:pt x="2700168" y="66641"/>
                </a:lnTo>
                <a:lnTo>
                  <a:pt x="2715569" y="105678"/>
                </a:lnTo>
                <a:lnTo>
                  <a:pt x="2718790" y="675385"/>
                </a:lnTo>
                <a:lnTo>
                  <a:pt x="2718002" y="690079"/>
                </a:lnTo>
                <a:lnTo>
                  <a:pt x="2706834" y="731079"/>
                </a:lnTo>
                <a:lnTo>
                  <a:pt x="2684179" y="765749"/>
                </a:lnTo>
                <a:lnTo>
                  <a:pt x="2652242" y="791887"/>
                </a:lnTo>
                <a:lnTo>
                  <a:pt x="2613232" y="807292"/>
                </a:lnTo>
                <a:lnTo>
                  <a:pt x="135102" y="810513"/>
                </a:lnTo>
                <a:lnTo>
                  <a:pt x="120424" y="809726"/>
                </a:lnTo>
                <a:lnTo>
                  <a:pt x="79454" y="798564"/>
                </a:lnTo>
                <a:lnTo>
                  <a:pt x="44798" y="775914"/>
                </a:lnTo>
                <a:lnTo>
                  <a:pt x="18657" y="743973"/>
                </a:lnTo>
                <a:lnTo>
                  <a:pt x="3237" y="704942"/>
                </a:lnTo>
                <a:lnTo>
                  <a:pt x="0" y="135127"/>
                </a:lnTo>
                <a:close/>
              </a:path>
            </a:pathLst>
          </a:custGeom>
          <a:ln w="25400">
            <a:solidFill>
              <a:srgbClr val="FBC999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1538477" y="2195576"/>
            <a:ext cx="194119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-10" dirty="0">
                <a:latin typeface="Arial"/>
                <a:cs typeface="Arial"/>
              </a:rPr>
              <a:t>Steeri</a:t>
            </a:r>
            <a:r>
              <a:rPr sz="1600" b="1" i="1" spc="-20" dirty="0">
                <a:latin typeface="Arial"/>
                <a:cs typeface="Arial"/>
              </a:rPr>
              <a:t>n</a:t>
            </a:r>
            <a:r>
              <a:rPr sz="1600" b="1" i="1" spc="-10" dirty="0">
                <a:latin typeface="Arial"/>
                <a:cs typeface="Arial"/>
              </a:rPr>
              <a:t>g</a:t>
            </a:r>
            <a:r>
              <a:rPr sz="1600" b="1" i="1" spc="15" dirty="0">
                <a:latin typeface="Arial"/>
                <a:cs typeface="Arial"/>
              </a:rPr>
              <a:t> </a:t>
            </a:r>
            <a:r>
              <a:rPr sz="1600" b="1" i="1" spc="-15" dirty="0">
                <a:latin typeface="Arial"/>
                <a:cs typeface="Arial"/>
              </a:rPr>
              <a:t>C</a:t>
            </a:r>
            <a:r>
              <a:rPr sz="1600" b="1" i="1" spc="-20" dirty="0">
                <a:latin typeface="Arial"/>
                <a:cs typeface="Arial"/>
              </a:rPr>
              <a:t>omm</a:t>
            </a:r>
            <a:r>
              <a:rPr sz="1600" b="1" i="1" spc="-5" dirty="0">
                <a:latin typeface="Arial"/>
                <a:cs typeface="Arial"/>
              </a:rPr>
              <a:t>it</a:t>
            </a:r>
            <a:r>
              <a:rPr sz="1600" b="1" i="1" spc="-20" dirty="0">
                <a:latin typeface="Arial"/>
                <a:cs typeface="Arial"/>
              </a:rPr>
              <a:t>t</a:t>
            </a:r>
            <a:r>
              <a:rPr sz="1600" b="1" i="1" spc="-10" dirty="0">
                <a:latin typeface="Arial"/>
                <a:cs typeface="Arial"/>
              </a:rPr>
              <a:t>ee</a:t>
            </a:r>
            <a:endParaRPr sz="160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434972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149098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5" y="460883"/>
                </a:lnTo>
                <a:lnTo>
                  <a:pt x="153666" y="460531"/>
                </a:lnTo>
                <a:lnTo>
                  <a:pt x="166508" y="455224"/>
                </a:lnTo>
                <a:lnTo>
                  <a:pt x="175456" y="444843"/>
                </a:lnTo>
                <a:lnTo>
                  <a:pt x="178815" y="431076"/>
                </a:lnTo>
                <a:lnTo>
                  <a:pt x="178460" y="25215"/>
                </a:lnTo>
                <a:lnTo>
                  <a:pt x="173156" y="12321"/>
                </a:lnTo>
                <a:lnTo>
                  <a:pt x="162804" y="3358"/>
                </a:lnTo>
                <a:lnTo>
                  <a:pt x="149098" y="0"/>
                </a:lnTo>
                <a:close/>
              </a:path>
            </a:pathLst>
          </a:custGeom>
          <a:solidFill>
            <a:srgbClr val="D9EE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434972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8" y="0"/>
                </a:lnTo>
                <a:lnTo>
                  <a:pt x="162804" y="3358"/>
                </a:lnTo>
                <a:lnTo>
                  <a:pt x="173156" y="12321"/>
                </a:lnTo>
                <a:lnTo>
                  <a:pt x="178460" y="25215"/>
                </a:lnTo>
                <a:lnTo>
                  <a:pt x="178815" y="431076"/>
                </a:lnTo>
                <a:lnTo>
                  <a:pt x="175456" y="444843"/>
                </a:lnTo>
                <a:lnTo>
                  <a:pt x="166508" y="455224"/>
                </a:lnTo>
                <a:lnTo>
                  <a:pt x="153666" y="460531"/>
                </a:lnTo>
                <a:lnTo>
                  <a:pt x="29845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399">
            <a:solidFill>
              <a:srgbClr val="0063AC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754377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149098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5" y="460883"/>
                </a:lnTo>
                <a:lnTo>
                  <a:pt x="153666" y="460531"/>
                </a:lnTo>
                <a:lnTo>
                  <a:pt x="166508" y="455224"/>
                </a:lnTo>
                <a:lnTo>
                  <a:pt x="175456" y="444843"/>
                </a:lnTo>
                <a:lnTo>
                  <a:pt x="178816" y="431076"/>
                </a:lnTo>
                <a:lnTo>
                  <a:pt x="178460" y="25215"/>
                </a:lnTo>
                <a:lnTo>
                  <a:pt x="173156" y="12321"/>
                </a:lnTo>
                <a:lnTo>
                  <a:pt x="162804" y="3358"/>
                </a:lnTo>
                <a:lnTo>
                  <a:pt x="149098" y="0"/>
                </a:lnTo>
                <a:close/>
              </a:path>
            </a:pathLst>
          </a:custGeom>
          <a:solidFill>
            <a:srgbClr val="FFDDEA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754377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8" y="0"/>
                </a:lnTo>
                <a:lnTo>
                  <a:pt x="162804" y="3358"/>
                </a:lnTo>
                <a:lnTo>
                  <a:pt x="173156" y="12321"/>
                </a:lnTo>
                <a:lnTo>
                  <a:pt x="178460" y="25215"/>
                </a:lnTo>
                <a:lnTo>
                  <a:pt x="178816" y="431076"/>
                </a:lnTo>
                <a:lnTo>
                  <a:pt x="175456" y="444843"/>
                </a:lnTo>
                <a:lnTo>
                  <a:pt x="166508" y="455224"/>
                </a:lnTo>
                <a:lnTo>
                  <a:pt x="153666" y="460531"/>
                </a:lnTo>
                <a:lnTo>
                  <a:pt x="29845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A7014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073782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149098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4" y="460883"/>
                </a:lnTo>
                <a:lnTo>
                  <a:pt x="153666" y="460531"/>
                </a:lnTo>
                <a:lnTo>
                  <a:pt x="166508" y="455224"/>
                </a:lnTo>
                <a:lnTo>
                  <a:pt x="175456" y="444843"/>
                </a:lnTo>
                <a:lnTo>
                  <a:pt x="178816" y="431076"/>
                </a:lnTo>
                <a:lnTo>
                  <a:pt x="178460" y="25215"/>
                </a:lnTo>
                <a:lnTo>
                  <a:pt x="173156" y="12321"/>
                </a:lnTo>
                <a:lnTo>
                  <a:pt x="162804" y="3358"/>
                </a:lnTo>
                <a:lnTo>
                  <a:pt x="149098" y="0"/>
                </a:lnTo>
                <a:close/>
              </a:path>
            </a:pathLst>
          </a:custGeom>
          <a:solidFill>
            <a:srgbClr val="E6E3C8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073782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8" y="0"/>
                </a:lnTo>
                <a:lnTo>
                  <a:pt x="162804" y="3358"/>
                </a:lnTo>
                <a:lnTo>
                  <a:pt x="173156" y="12321"/>
                </a:lnTo>
                <a:lnTo>
                  <a:pt x="178460" y="25215"/>
                </a:lnTo>
                <a:lnTo>
                  <a:pt x="178816" y="431076"/>
                </a:lnTo>
                <a:lnTo>
                  <a:pt x="175456" y="444843"/>
                </a:lnTo>
                <a:lnTo>
                  <a:pt x="166508" y="455224"/>
                </a:lnTo>
                <a:lnTo>
                  <a:pt x="153666" y="460531"/>
                </a:lnTo>
                <a:lnTo>
                  <a:pt x="29844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4F4B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393188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149098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4" y="460883"/>
                </a:lnTo>
                <a:lnTo>
                  <a:pt x="153666" y="460531"/>
                </a:lnTo>
                <a:lnTo>
                  <a:pt x="166508" y="455224"/>
                </a:lnTo>
                <a:lnTo>
                  <a:pt x="175456" y="444843"/>
                </a:lnTo>
                <a:lnTo>
                  <a:pt x="178816" y="431076"/>
                </a:lnTo>
                <a:lnTo>
                  <a:pt x="178460" y="25215"/>
                </a:lnTo>
                <a:lnTo>
                  <a:pt x="173156" y="12321"/>
                </a:lnTo>
                <a:lnTo>
                  <a:pt x="162804" y="3358"/>
                </a:lnTo>
                <a:lnTo>
                  <a:pt x="149098" y="0"/>
                </a:lnTo>
                <a:close/>
              </a:path>
            </a:pathLst>
          </a:custGeom>
          <a:solidFill>
            <a:srgbClr val="D9EE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393188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8" y="0"/>
                </a:lnTo>
                <a:lnTo>
                  <a:pt x="162804" y="3358"/>
                </a:lnTo>
                <a:lnTo>
                  <a:pt x="173156" y="12321"/>
                </a:lnTo>
                <a:lnTo>
                  <a:pt x="178460" y="25215"/>
                </a:lnTo>
                <a:lnTo>
                  <a:pt x="178816" y="431076"/>
                </a:lnTo>
                <a:lnTo>
                  <a:pt x="175456" y="444843"/>
                </a:lnTo>
                <a:lnTo>
                  <a:pt x="166508" y="455224"/>
                </a:lnTo>
                <a:lnTo>
                  <a:pt x="153666" y="460531"/>
                </a:lnTo>
                <a:lnTo>
                  <a:pt x="29844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0063AC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712592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149098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4" y="460883"/>
                </a:lnTo>
                <a:lnTo>
                  <a:pt x="153666" y="460531"/>
                </a:lnTo>
                <a:lnTo>
                  <a:pt x="166508" y="455224"/>
                </a:lnTo>
                <a:lnTo>
                  <a:pt x="175456" y="444843"/>
                </a:lnTo>
                <a:lnTo>
                  <a:pt x="178815" y="431076"/>
                </a:lnTo>
                <a:lnTo>
                  <a:pt x="178460" y="25215"/>
                </a:lnTo>
                <a:lnTo>
                  <a:pt x="173156" y="12321"/>
                </a:lnTo>
                <a:lnTo>
                  <a:pt x="162804" y="3358"/>
                </a:lnTo>
                <a:lnTo>
                  <a:pt x="149098" y="0"/>
                </a:lnTo>
                <a:close/>
              </a:path>
            </a:pathLst>
          </a:custGeom>
          <a:solidFill>
            <a:srgbClr val="FFDDEA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712592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8" y="0"/>
                </a:lnTo>
                <a:lnTo>
                  <a:pt x="162804" y="3358"/>
                </a:lnTo>
                <a:lnTo>
                  <a:pt x="173156" y="12321"/>
                </a:lnTo>
                <a:lnTo>
                  <a:pt x="178460" y="25215"/>
                </a:lnTo>
                <a:lnTo>
                  <a:pt x="178815" y="431076"/>
                </a:lnTo>
                <a:lnTo>
                  <a:pt x="175456" y="444843"/>
                </a:lnTo>
                <a:lnTo>
                  <a:pt x="166508" y="455224"/>
                </a:lnTo>
                <a:lnTo>
                  <a:pt x="153666" y="460531"/>
                </a:lnTo>
                <a:lnTo>
                  <a:pt x="29844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A7014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031998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149097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4" y="460883"/>
                </a:lnTo>
                <a:lnTo>
                  <a:pt x="153666" y="460531"/>
                </a:lnTo>
                <a:lnTo>
                  <a:pt x="166508" y="455224"/>
                </a:lnTo>
                <a:lnTo>
                  <a:pt x="175456" y="444843"/>
                </a:lnTo>
                <a:lnTo>
                  <a:pt x="178815" y="431076"/>
                </a:lnTo>
                <a:lnTo>
                  <a:pt x="178460" y="25215"/>
                </a:lnTo>
                <a:lnTo>
                  <a:pt x="173156" y="12321"/>
                </a:lnTo>
                <a:lnTo>
                  <a:pt x="162804" y="3358"/>
                </a:lnTo>
                <a:lnTo>
                  <a:pt x="149097" y="0"/>
                </a:lnTo>
                <a:close/>
              </a:path>
            </a:pathLst>
          </a:custGeom>
          <a:solidFill>
            <a:srgbClr val="E6E3C8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031998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7" y="0"/>
                </a:lnTo>
                <a:lnTo>
                  <a:pt x="162804" y="3358"/>
                </a:lnTo>
                <a:lnTo>
                  <a:pt x="173156" y="12321"/>
                </a:lnTo>
                <a:lnTo>
                  <a:pt x="178460" y="25215"/>
                </a:lnTo>
                <a:lnTo>
                  <a:pt x="178815" y="431076"/>
                </a:lnTo>
                <a:lnTo>
                  <a:pt x="175456" y="444843"/>
                </a:lnTo>
                <a:lnTo>
                  <a:pt x="166508" y="455224"/>
                </a:lnTo>
                <a:lnTo>
                  <a:pt x="153666" y="460531"/>
                </a:lnTo>
                <a:lnTo>
                  <a:pt x="29844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4F4B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351403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70" h="461010">
                <a:moveTo>
                  <a:pt x="149098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5" y="460883"/>
                </a:lnTo>
                <a:lnTo>
                  <a:pt x="153666" y="460531"/>
                </a:lnTo>
                <a:lnTo>
                  <a:pt x="166508" y="455224"/>
                </a:lnTo>
                <a:lnTo>
                  <a:pt x="175456" y="444843"/>
                </a:lnTo>
                <a:lnTo>
                  <a:pt x="178816" y="431076"/>
                </a:lnTo>
                <a:lnTo>
                  <a:pt x="178460" y="25215"/>
                </a:lnTo>
                <a:lnTo>
                  <a:pt x="173156" y="12321"/>
                </a:lnTo>
                <a:lnTo>
                  <a:pt x="162804" y="3358"/>
                </a:lnTo>
                <a:lnTo>
                  <a:pt x="149098" y="0"/>
                </a:lnTo>
                <a:close/>
              </a:path>
            </a:pathLst>
          </a:custGeom>
          <a:solidFill>
            <a:srgbClr val="D9EE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351403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70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8" y="0"/>
                </a:lnTo>
                <a:lnTo>
                  <a:pt x="162804" y="3358"/>
                </a:lnTo>
                <a:lnTo>
                  <a:pt x="173156" y="12321"/>
                </a:lnTo>
                <a:lnTo>
                  <a:pt x="178460" y="25215"/>
                </a:lnTo>
                <a:lnTo>
                  <a:pt x="178816" y="431076"/>
                </a:lnTo>
                <a:lnTo>
                  <a:pt x="175456" y="444843"/>
                </a:lnTo>
                <a:lnTo>
                  <a:pt x="166508" y="455224"/>
                </a:lnTo>
                <a:lnTo>
                  <a:pt x="153666" y="460531"/>
                </a:lnTo>
                <a:lnTo>
                  <a:pt x="29845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0063AC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670808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70" h="461010">
                <a:moveTo>
                  <a:pt x="149097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4" y="460883"/>
                </a:lnTo>
                <a:lnTo>
                  <a:pt x="153760" y="460517"/>
                </a:lnTo>
                <a:lnTo>
                  <a:pt x="166600" y="455190"/>
                </a:lnTo>
                <a:lnTo>
                  <a:pt x="175569" y="444817"/>
                </a:lnTo>
                <a:lnTo>
                  <a:pt x="178942" y="431076"/>
                </a:lnTo>
                <a:lnTo>
                  <a:pt x="178570" y="25124"/>
                </a:lnTo>
                <a:lnTo>
                  <a:pt x="173204" y="12273"/>
                </a:lnTo>
                <a:lnTo>
                  <a:pt x="162806" y="3345"/>
                </a:lnTo>
                <a:lnTo>
                  <a:pt x="149097" y="0"/>
                </a:lnTo>
                <a:close/>
              </a:path>
            </a:pathLst>
          </a:custGeom>
          <a:solidFill>
            <a:srgbClr val="FFDDEA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670808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70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7" y="0"/>
                </a:lnTo>
                <a:lnTo>
                  <a:pt x="162806" y="3345"/>
                </a:lnTo>
                <a:lnTo>
                  <a:pt x="173204" y="12273"/>
                </a:lnTo>
                <a:lnTo>
                  <a:pt x="178570" y="25124"/>
                </a:lnTo>
                <a:lnTo>
                  <a:pt x="178942" y="431076"/>
                </a:lnTo>
                <a:lnTo>
                  <a:pt x="175569" y="444817"/>
                </a:lnTo>
                <a:lnTo>
                  <a:pt x="166600" y="455190"/>
                </a:lnTo>
                <a:lnTo>
                  <a:pt x="153760" y="460517"/>
                </a:lnTo>
                <a:lnTo>
                  <a:pt x="29844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A7014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990213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70" h="461010">
                <a:moveTo>
                  <a:pt x="149098" y="0"/>
                </a:moveTo>
                <a:lnTo>
                  <a:pt x="25124" y="369"/>
                </a:lnTo>
                <a:lnTo>
                  <a:pt x="12273" y="5702"/>
                </a:lnTo>
                <a:lnTo>
                  <a:pt x="3345" y="16080"/>
                </a:lnTo>
                <a:lnTo>
                  <a:pt x="0" y="29845"/>
                </a:lnTo>
                <a:lnTo>
                  <a:pt x="365" y="435755"/>
                </a:lnTo>
                <a:lnTo>
                  <a:pt x="5691" y="448597"/>
                </a:lnTo>
                <a:lnTo>
                  <a:pt x="16072" y="457532"/>
                </a:lnTo>
                <a:lnTo>
                  <a:pt x="29845" y="460883"/>
                </a:lnTo>
                <a:lnTo>
                  <a:pt x="153760" y="460517"/>
                </a:lnTo>
                <a:lnTo>
                  <a:pt x="166600" y="455190"/>
                </a:lnTo>
                <a:lnTo>
                  <a:pt x="175569" y="444817"/>
                </a:lnTo>
                <a:lnTo>
                  <a:pt x="178942" y="431076"/>
                </a:lnTo>
                <a:lnTo>
                  <a:pt x="178570" y="25124"/>
                </a:lnTo>
                <a:lnTo>
                  <a:pt x="173204" y="12273"/>
                </a:lnTo>
                <a:lnTo>
                  <a:pt x="162806" y="3345"/>
                </a:lnTo>
                <a:lnTo>
                  <a:pt x="149098" y="0"/>
                </a:lnTo>
                <a:close/>
              </a:path>
            </a:pathLst>
          </a:custGeom>
          <a:solidFill>
            <a:srgbClr val="E6E3C8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990213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70" h="461010">
                <a:moveTo>
                  <a:pt x="0" y="29845"/>
                </a:moveTo>
                <a:lnTo>
                  <a:pt x="3345" y="16080"/>
                </a:lnTo>
                <a:lnTo>
                  <a:pt x="12273" y="5702"/>
                </a:lnTo>
                <a:lnTo>
                  <a:pt x="25124" y="369"/>
                </a:lnTo>
                <a:lnTo>
                  <a:pt x="149098" y="0"/>
                </a:lnTo>
                <a:lnTo>
                  <a:pt x="162806" y="3345"/>
                </a:lnTo>
                <a:lnTo>
                  <a:pt x="173204" y="12273"/>
                </a:lnTo>
                <a:lnTo>
                  <a:pt x="178570" y="25124"/>
                </a:lnTo>
                <a:lnTo>
                  <a:pt x="178942" y="431076"/>
                </a:lnTo>
                <a:lnTo>
                  <a:pt x="175569" y="444817"/>
                </a:lnTo>
                <a:lnTo>
                  <a:pt x="166600" y="455190"/>
                </a:lnTo>
                <a:lnTo>
                  <a:pt x="153760" y="460517"/>
                </a:lnTo>
                <a:lnTo>
                  <a:pt x="29845" y="460883"/>
                </a:lnTo>
                <a:lnTo>
                  <a:pt x="16072" y="457532"/>
                </a:lnTo>
                <a:lnTo>
                  <a:pt x="5691" y="448597"/>
                </a:lnTo>
                <a:lnTo>
                  <a:pt x="365" y="435755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4F4B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115580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149034" y="0"/>
                </a:moveTo>
                <a:lnTo>
                  <a:pt x="25127" y="365"/>
                </a:lnTo>
                <a:lnTo>
                  <a:pt x="12285" y="5691"/>
                </a:lnTo>
                <a:lnTo>
                  <a:pt x="3350" y="16072"/>
                </a:lnTo>
                <a:lnTo>
                  <a:pt x="0" y="29845"/>
                </a:lnTo>
                <a:lnTo>
                  <a:pt x="361" y="435728"/>
                </a:lnTo>
                <a:lnTo>
                  <a:pt x="5682" y="448583"/>
                </a:lnTo>
                <a:lnTo>
                  <a:pt x="16057" y="457528"/>
                </a:lnTo>
                <a:lnTo>
                  <a:pt x="29806" y="460883"/>
                </a:lnTo>
                <a:lnTo>
                  <a:pt x="153652" y="460526"/>
                </a:lnTo>
                <a:lnTo>
                  <a:pt x="166503" y="455210"/>
                </a:lnTo>
                <a:lnTo>
                  <a:pt x="175447" y="444833"/>
                </a:lnTo>
                <a:lnTo>
                  <a:pt x="178803" y="431076"/>
                </a:lnTo>
                <a:lnTo>
                  <a:pt x="178442" y="25179"/>
                </a:lnTo>
                <a:lnTo>
                  <a:pt x="173126" y="12302"/>
                </a:lnTo>
                <a:lnTo>
                  <a:pt x="162764" y="3353"/>
                </a:lnTo>
                <a:lnTo>
                  <a:pt x="149034" y="0"/>
                </a:lnTo>
                <a:close/>
              </a:path>
            </a:pathLst>
          </a:custGeom>
          <a:solidFill>
            <a:srgbClr val="E6E3C8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115580" y="5406516"/>
            <a:ext cx="179070" cy="461009"/>
          </a:xfrm>
          <a:custGeom>
            <a:avLst/>
            <a:gdLst/>
            <a:ahLst/>
            <a:cxnLst/>
            <a:rect l="l" t="t" r="r" b="b"/>
            <a:pathLst>
              <a:path w="179069" h="461010">
                <a:moveTo>
                  <a:pt x="0" y="29845"/>
                </a:moveTo>
                <a:lnTo>
                  <a:pt x="3350" y="16072"/>
                </a:lnTo>
                <a:lnTo>
                  <a:pt x="12285" y="5691"/>
                </a:lnTo>
                <a:lnTo>
                  <a:pt x="25127" y="365"/>
                </a:lnTo>
                <a:lnTo>
                  <a:pt x="149034" y="0"/>
                </a:lnTo>
                <a:lnTo>
                  <a:pt x="162764" y="3353"/>
                </a:lnTo>
                <a:lnTo>
                  <a:pt x="173126" y="12302"/>
                </a:lnTo>
                <a:lnTo>
                  <a:pt x="178442" y="25179"/>
                </a:lnTo>
                <a:lnTo>
                  <a:pt x="178803" y="431076"/>
                </a:lnTo>
                <a:lnTo>
                  <a:pt x="175447" y="444833"/>
                </a:lnTo>
                <a:lnTo>
                  <a:pt x="166503" y="455210"/>
                </a:lnTo>
                <a:lnTo>
                  <a:pt x="153652" y="460526"/>
                </a:lnTo>
                <a:lnTo>
                  <a:pt x="29806" y="460883"/>
                </a:lnTo>
                <a:lnTo>
                  <a:pt x="16057" y="457528"/>
                </a:lnTo>
                <a:lnTo>
                  <a:pt x="5682" y="448583"/>
                </a:lnTo>
                <a:lnTo>
                  <a:pt x="361" y="435728"/>
                </a:lnTo>
                <a:lnTo>
                  <a:pt x="0" y="29845"/>
                </a:lnTo>
                <a:close/>
              </a:path>
            </a:pathLst>
          </a:custGeom>
          <a:ln w="25400">
            <a:solidFill>
              <a:srgbClr val="4F4B24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1" name="object 41"/>
          <p:cNvSpPr txBox="1"/>
          <p:nvPr/>
        </p:nvSpPr>
        <p:spPr>
          <a:xfrm>
            <a:off x="1229360" y="5070602"/>
            <a:ext cx="2780665" cy="224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i="1" dirty="0">
                <a:latin typeface="Arial"/>
                <a:cs typeface="Arial"/>
              </a:rPr>
              <a:t>Part</a:t>
            </a:r>
            <a:r>
              <a:rPr sz="1400" b="1" i="1" spc="-10" dirty="0">
                <a:latin typeface="Arial"/>
                <a:cs typeface="Arial"/>
              </a:rPr>
              <a:t>n</a:t>
            </a:r>
            <a:r>
              <a:rPr sz="1400" b="1" i="1" dirty="0">
                <a:latin typeface="Arial"/>
                <a:cs typeface="Arial"/>
              </a:rPr>
              <a:t>ers</a:t>
            </a:r>
            <a:r>
              <a:rPr sz="1400" b="1" i="1" spc="-30" dirty="0">
                <a:latin typeface="Arial"/>
                <a:cs typeface="Arial"/>
              </a:rPr>
              <a:t> </a:t>
            </a:r>
            <a:r>
              <a:rPr sz="1400" b="1" i="1" dirty="0">
                <a:latin typeface="Arial"/>
                <a:cs typeface="Arial"/>
              </a:rPr>
              <a:t>&amp;</a:t>
            </a:r>
            <a:r>
              <a:rPr sz="1400" b="1" i="1" spc="-5" dirty="0">
                <a:latin typeface="Arial"/>
                <a:cs typeface="Arial"/>
              </a:rPr>
              <a:t> </a:t>
            </a:r>
            <a:r>
              <a:rPr sz="1400" b="1" i="1" spc="-10" dirty="0">
                <a:latin typeface="Arial"/>
                <a:cs typeface="Arial"/>
              </a:rPr>
              <a:t>Co</a:t>
            </a:r>
            <a:r>
              <a:rPr sz="1400" b="1" i="1" dirty="0">
                <a:latin typeface="Arial"/>
                <a:cs typeface="Arial"/>
              </a:rPr>
              <a:t>mm</a:t>
            </a:r>
            <a:r>
              <a:rPr sz="1400" b="1" i="1" spc="-10" dirty="0">
                <a:latin typeface="Arial"/>
                <a:cs typeface="Arial"/>
              </a:rPr>
              <a:t>un</a:t>
            </a:r>
            <a:r>
              <a:rPr sz="1400" b="1" i="1" dirty="0">
                <a:latin typeface="Arial"/>
                <a:cs typeface="Arial"/>
              </a:rPr>
              <a:t>ity</a:t>
            </a:r>
            <a:r>
              <a:rPr sz="1400" b="1" i="1" spc="-20" dirty="0">
                <a:latin typeface="Arial"/>
                <a:cs typeface="Arial"/>
              </a:rPr>
              <a:t> </a:t>
            </a:r>
            <a:r>
              <a:rPr sz="1400" b="1" i="1" spc="-10" dirty="0">
                <a:latin typeface="Arial"/>
                <a:cs typeface="Arial"/>
              </a:rPr>
              <a:t>M</a:t>
            </a:r>
            <a:r>
              <a:rPr sz="1400" b="1" i="1" dirty="0">
                <a:latin typeface="Arial"/>
                <a:cs typeface="Arial"/>
              </a:rPr>
              <a:t>em</a:t>
            </a:r>
            <a:r>
              <a:rPr sz="1400" b="1" i="1" spc="-10" dirty="0">
                <a:latin typeface="Arial"/>
                <a:cs typeface="Arial"/>
              </a:rPr>
              <a:t>b</a:t>
            </a:r>
            <a:r>
              <a:rPr sz="1400" b="1" i="1" dirty="0">
                <a:latin typeface="Arial"/>
                <a:cs typeface="Arial"/>
              </a:rPr>
              <a:t>ers</a:t>
            </a:r>
            <a:endParaRPr sz="1400">
              <a:latin typeface="Arial"/>
              <a:cs typeface="Arial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2102231" y="3264789"/>
            <a:ext cx="864235" cy="888365"/>
          </a:xfrm>
          <a:custGeom>
            <a:avLst/>
            <a:gdLst/>
            <a:ahLst/>
            <a:cxnLst/>
            <a:rect l="l" t="t" r="r" b="b"/>
            <a:pathLst>
              <a:path w="864235" h="888364">
                <a:moveTo>
                  <a:pt x="720088" y="0"/>
                </a:moveTo>
                <a:lnTo>
                  <a:pt x="143464" y="1"/>
                </a:lnTo>
                <a:lnTo>
                  <a:pt x="100796" y="6605"/>
                </a:lnTo>
                <a:lnTo>
                  <a:pt x="63245" y="24786"/>
                </a:lnTo>
                <a:lnTo>
                  <a:pt x="32754" y="52597"/>
                </a:lnTo>
                <a:lnTo>
                  <a:pt x="11271" y="88095"/>
                </a:lnTo>
                <a:lnTo>
                  <a:pt x="739" y="129332"/>
                </a:lnTo>
                <a:lnTo>
                  <a:pt x="0" y="744646"/>
                </a:lnTo>
                <a:lnTo>
                  <a:pt x="795" y="759338"/>
                </a:lnTo>
                <a:lnTo>
                  <a:pt x="11474" y="800548"/>
                </a:lnTo>
                <a:lnTo>
                  <a:pt x="33081" y="835961"/>
                </a:lnTo>
                <a:lnTo>
                  <a:pt x="63671" y="863646"/>
                </a:lnTo>
                <a:lnTo>
                  <a:pt x="101298" y="881673"/>
                </a:lnTo>
                <a:lnTo>
                  <a:pt x="144016" y="888111"/>
                </a:lnTo>
                <a:lnTo>
                  <a:pt x="720641" y="888109"/>
                </a:lnTo>
                <a:lnTo>
                  <a:pt x="763309" y="881516"/>
                </a:lnTo>
                <a:lnTo>
                  <a:pt x="800860" y="863358"/>
                </a:lnTo>
                <a:lnTo>
                  <a:pt x="831351" y="835566"/>
                </a:lnTo>
                <a:lnTo>
                  <a:pt x="852834" y="800069"/>
                </a:lnTo>
                <a:lnTo>
                  <a:pt x="863366" y="758799"/>
                </a:lnTo>
                <a:lnTo>
                  <a:pt x="864105" y="143465"/>
                </a:lnTo>
                <a:lnTo>
                  <a:pt x="863310" y="128794"/>
                </a:lnTo>
                <a:lnTo>
                  <a:pt x="852631" y="87616"/>
                </a:lnTo>
                <a:lnTo>
                  <a:pt x="831024" y="52202"/>
                </a:lnTo>
                <a:lnTo>
                  <a:pt x="800434" y="24497"/>
                </a:lnTo>
                <a:lnTo>
                  <a:pt x="762807" y="6448"/>
                </a:lnTo>
                <a:lnTo>
                  <a:pt x="720088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102230" y="3264789"/>
            <a:ext cx="864235" cy="888365"/>
          </a:xfrm>
          <a:custGeom>
            <a:avLst/>
            <a:gdLst/>
            <a:ahLst/>
            <a:cxnLst/>
            <a:rect l="l" t="t" r="r" b="b"/>
            <a:pathLst>
              <a:path w="864235" h="888364">
                <a:moveTo>
                  <a:pt x="0" y="144018"/>
                </a:moveTo>
                <a:lnTo>
                  <a:pt x="6448" y="101299"/>
                </a:lnTo>
                <a:lnTo>
                  <a:pt x="24497" y="63672"/>
                </a:lnTo>
                <a:lnTo>
                  <a:pt x="52202" y="33082"/>
                </a:lnTo>
                <a:lnTo>
                  <a:pt x="87616" y="11475"/>
                </a:lnTo>
                <a:lnTo>
                  <a:pt x="128794" y="796"/>
                </a:lnTo>
                <a:lnTo>
                  <a:pt x="720089" y="0"/>
                </a:lnTo>
                <a:lnTo>
                  <a:pt x="734775" y="740"/>
                </a:lnTo>
                <a:lnTo>
                  <a:pt x="776012" y="11272"/>
                </a:lnTo>
                <a:lnTo>
                  <a:pt x="811510" y="32755"/>
                </a:lnTo>
                <a:lnTo>
                  <a:pt x="839321" y="63246"/>
                </a:lnTo>
                <a:lnTo>
                  <a:pt x="857502" y="100797"/>
                </a:lnTo>
                <a:lnTo>
                  <a:pt x="864106" y="143465"/>
                </a:lnTo>
                <a:lnTo>
                  <a:pt x="864107" y="744093"/>
                </a:lnTo>
                <a:lnTo>
                  <a:pt x="863367" y="758799"/>
                </a:lnTo>
                <a:lnTo>
                  <a:pt x="852835" y="800069"/>
                </a:lnTo>
                <a:lnTo>
                  <a:pt x="831352" y="835566"/>
                </a:lnTo>
                <a:lnTo>
                  <a:pt x="800861" y="863358"/>
                </a:lnTo>
                <a:lnTo>
                  <a:pt x="763310" y="881516"/>
                </a:lnTo>
                <a:lnTo>
                  <a:pt x="720642" y="888109"/>
                </a:lnTo>
                <a:lnTo>
                  <a:pt x="144018" y="888111"/>
                </a:lnTo>
                <a:lnTo>
                  <a:pt x="129332" y="887371"/>
                </a:lnTo>
                <a:lnTo>
                  <a:pt x="88095" y="876856"/>
                </a:lnTo>
                <a:lnTo>
                  <a:pt x="52597" y="855396"/>
                </a:lnTo>
                <a:lnTo>
                  <a:pt x="24786" y="824920"/>
                </a:lnTo>
                <a:lnTo>
                  <a:pt x="6605" y="787360"/>
                </a:lnTo>
                <a:lnTo>
                  <a:pt x="1" y="744646"/>
                </a:lnTo>
                <a:lnTo>
                  <a:pt x="0" y="144018"/>
                </a:lnTo>
                <a:close/>
              </a:path>
            </a:pathLst>
          </a:custGeom>
          <a:ln w="25400">
            <a:solidFill>
              <a:srgbClr val="FFCC0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113532" y="3277234"/>
            <a:ext cx="785495" cy="888365"/>
          </a:xfrm>
          <a:custGeom>
            <a:avLst/>
            <a:gdLst/>
            <a:ahLst/>
            <a:cxnLst/>
            <a:rect l="l" t="t" r="r" b="b"/>
            <a:pathLst>
              <a:path w="785495" h="888364">
                <a:moveTo>
                  <a:pt x="654557" y="0"/>
                </a:moveTo>
                <a:lnTo>
                  <a:pt x="122358" y="275"/>
                </a:lnTo>
                <a:lnTo>
                  <a:pt x="80772" y="9929"/>
                </a:lnTo>
                <a:lnTo>
                  <a:pt x="45491" y="31667"/>
                </a:lnTo>
                <a:lnTo>
                  <a:pt x="18851" y="63150"/>
                </a:lnTo>
                <a:lnTo>
                  <a:pt x="3189" y="102044"/>
                </a:lnTo>
                <a:lnTo>
                  <a:pt x="0" y="130937"/>
                </a:lnTo>
                <a:lnTo>
                  <a:pt x="275" y="765738"/>
                </a:lnTo>
                <a:lnTo>
                  <a:pt x="9929" y="807284"/>
                </a:lnTo>
                <a:lnTo>
                  <a:pt x="31667" y="842567"/>
                </a:lnTo>
                <a:lnTo>
                  <a:pt x="63150" y="869229"/>
                </a:lnTo>
                <a:lnTo>
                  <a:pt x="102044" y="884915"/>
                </a:lnTo>
                <a:lnTo>
                  <a:pt x="130937" y="888110"/>
                </a:lnTo>
                <a:lnTo>
                  <a:pt x="663136" y="887834"/>
                </a:lnTo>
                <a:lnTo>
                  <a:pt x="704722" y="878163"/>
                </a:lnTo>
                <a:lnTo>
                  <a:pt x="740003" y="856401"/>
                </a:lnTo>
                <a:lnTo>
                  <a:pt x="766643" y="824903"/>
                </a:lnTo>
                <a:lnTo>
                  <a:pt x="782305" y="786027"/>
                </a:lnTo>
                <a:lnTo>
                  <a:pt x="785494" y="757173"/>
                </a:lnTo>
                <a:lnTo>
                  <a:pt x="785219" y="122358"/>
                </a:lnTo>
                <a:lnTo>
                  <a:pt x="775565" y="80772"/>
                </a:lnTo>
                <a:lnTo>
                  <a:pt x="753827" y="45491"/>
                </a:lnTo>
                <a:lnTo>
                  <a:pt x="722344" y="18851"/>
                </a:lnTo>
                <a:lnTo>
                  <a:pt x="683450" y="3189"/>
                </a:lnTo>
                <a:lnTo>
                  <a:pt x="654557" y="0"/>
                </a:lnTo>
                <a:close/>
              </a:path>
            </a:pathLst>
          </a:custGeom>
          <a:solidFill>
            <a:srgbClr val="FFDDEA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113532" y="3277234"/>
            <a:ext cx="785495" cy="888365"/>
          </a:xfrm>
          <a:custGeom>
            <a:avLst/>
            <a:gdLst/>
            <a:ahLst/>
            <a:cxnLst/>
            <a:rect l="l" t="t" r="r" b="b"/>
            <a:pathLst>
              <a:path w="785495" h="888364">
                <a:moveTo>
                  <a:pt x="0" y="130937"/>
                </a:moveTo>
                <a:lnTo>
                  <a:pt x="7046" y="88400"/>
                </a:lnTo>
                <a:lnTo>
                  <a:pt x="26627" y="51717"/>
                </a:lnTo>
                <a:lnTo>
                  <a:pt x="56407" y="23223"/>
                </a:lnTo>
                <a:lnTo>
                  <a:pt x="94049" y="5253"/>
                </a:lnTo>
                <a:lnTo>
                  <a:pt x="654557" y="0"/>
                </a:lnTo>
                <a:lnTo>
                  <a:pt x="669242" y="811"/>
                </a:lnTo>
                <a:lnTo>
                  <a:pt x="710087" y="12295"/>
                </a:lnTo>
                <a:lnTo>
                  <a:pt x="744300" y="35536"/>
                </a:lnTo>
                <a:lnTo>
                  <a:pt x="769546" y="68196"/>
                </a:lnTo>
                <a:lnTo>
                  <a:pt x="783488" y="107940"/>
                </a:lnTo>
                <a:lnTo>
                  <a:pt x="785494" y="757173"/>
                </a:lnTo>
                <a:lnTo>
                  <a:pt x="784683" y="771836"/>
                </a:lnTo>
                <a:lnTo>
                  <a:pt x="773199" y="812648"/>
                </a:lnTo>
                <a:lnTo>
                  <a:pt x="749958" y="846867"/>
                </a:lnTo>
                <a:lnTo>
                  <a:pt x="717298" y="872136"/>
                </a:lnTo>
                <a:lnTo>
                  <a:pt x="677554" y="886100"/>
                </a:lnTo>
                <a:lnTo>
                  <a:pt x="130937" y="888110"/>
                </a:lnTo>
                <a:lnTo>
                  <a:pt x="116252" y="887297"/>
                </a:lnTo>
                <a:lnTo>
                  <a:pt x="75407" y="875794"/>
                </a:lnTo>
                <a:lnTo>
                  <a:pt x="41194" y="852528"/>
                </a:lnTo>
                <a:lnTo>
                  <a:pt x="15948" y="819857"/>
                </a:lnTo>
                <a:lnTo>
                  <a:pt x="2006" y="780137"/>
                </a:lnTo>
                <a:lnTo>
                  <a:pt x="0" y="130937"/>
                </a:lnTo>
                <a:close/>
              </a:path>
            </a:pathLst>
          </a:custGeom>
          <a:ln w="25400">
            <a:solidFill>
              <a:srgbClr val="A7014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109561" y="3264789"/>
            <a:ext cx="864235" cy="888365"/>
          </a:xfrm>
          <a:custGeom>
            <a:avLst/>
            <a:gdLst/>
            <a:ahLst/>
            <a:cxnLst/>
            <a:rect l="l" t="t" r="r" b="b"/>
            <a:pathLst>
              <a:path w="864235" h="888364">
                <a:moveTo>
                  <a:pt x="720127" y="0"/>
                </a:moveTo>
                <a:lnTo>
                  <a:pt x="143463" y="1"/>
                </a:lnTo>
                <a:lnTo>
                  <a:pt x="100782" y="6605"/>
                </a:lnTo>
                <a:lnTo>
                  <a:pt x="63228" y="24786"/>
                </a:lnTo>
                <a:lnTo>
                  <a:pt x="32742" y="52597"/>
                </a:lnTo>
                <a:lnTo>
                  <a:pt x="11265" y="88095"/>
                </a:lnTo>
                <a:lnTo>
                  <a:pt x="739" y="129332"/>
                </a:lnTo>
                <a:lnTo>
                  <a:pt x="0" y="744646"/>
                </a:lnTo>
                <a:lnTo>
                  <a:pt x="794" y="759338"/>
                </a:lnTo>
                <a:lnTo>
                  <a:pt x="11468" y="800548"/>
                </a:lnTo>
                <a:lnTo>
                  <a:pt x="33069" y="835961"/>
                </a:lnTo>
                <a:lnTo>
                  <a:pt x="63654" y="863646"/>
                </a:lnTo>
                <a:lnTo>
                  <a:pt x="101284" y="881673"/>
                </a:lnTo>
                <a:lnTo>
                  <a:pt x="144016" y="888111"/>
                </a:lnTo>
                <a:lnTo>
                  <a:pt x="720679" y="888109"/>
                </a:lnTo>
                <a:lnTo>
                  <a:pt x="763347" y="881516"/>
                </a:lnTo>
                <a:lnTo>
                  <a:pt x="800898" y="863358"/>
                </a:lnTo>
                <a:lnTo>
                  <a:pt x="831389" y="835566"/>
                </a:lnTo>
                <a:lnTo>
                  <a:pt x="852872" y="800069"/>
                </a:lnTo>
                <a:lnTo>
                  <a:pt x="863404" y="758799"/>
                </a:lnTo>
                <a:lnTo>
                  <a:pt x="864144" y="143465"/>
                </a:lnTo>
                <a:lnTo>
                  <a:pt x="863348" y="128794"/>
                </a:lnTo>
                <a:lnTo>
                  <a:pt x="852669" y="87616"/>
                </a:lnTo>
                <a:lnTo>
                  <a:pt x="831062" y="52202"/>
                </a:lnTo>
                <a:lnTo>
                  <a:pt x="800472" y="24497"/>
                </a:lnTo>
                <a:lnTo>
                  <a:pt x="762845" y="6448"/>
                </a:lnTo>
                <a:lnTo>
                  <a:pt x="720127" y="0"/>
                </a:lnTo>
                <a:close/>
              </a:path>
            </a:pathLst>
          </a:custGeom>
          <a:solidFill>
            <a:srgbClr val="E6E3C8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109560" y="3264789"/>
            <a:ext cx="864235" cy="888365"/>
          </a:xfrm>
          <a:custGeom>
            <a:avLst/>
            <a:gdLst/>
            <a:ahLst/>
            <a:cxnLst/>
            <a:rect l="l" t="t" r="r" b="b"/>
            <a:pathLst>
              <a:path w="864235" h="888364">
                <a:moveTo>
                  <a:pt x="0" y="144018"/>
                </a:moveTo>
                <a:lnTo>
                  <a:pt x="6445" y="101299"/>
                </a:lnTo>
                <a:lnTo>
                  <a:pt x="24487" y="63672"/>
                </a:lnTo>
                <a:lnTo>
                  <a:pt x="52186" y="33082"/>
                </a:lnTo>
                <a:lnTo>
                  <a:pt x="87599" y="11475"/>
                </a:lnTo>
                <a:lnTo>
                  <a:pt x="128787" y="796"/>
                </a:lnTo>
                <a:lnTo>
                  <a:pt x="720128" y="0"/>
                </a:lnTo>
                <a:lnTo>
                  <a:pt x="734813" y="740"/>
                </a:lnTo>
                <a:lnTo>
                  <a:pt x="776050" y="11272"/>
                </a:lnTo>
                <a:lnTo>
                  <a:pt x="811548" y="32755"/>
                </a:lnTo>
                <a:lnTo>
                  <a:pt x="839359" y="63246"/>
                </a:lnTo>
                <a:lnTo>
                  <a:pt x="857540" y="100797"/>
                </a:lnTo>
                <a:lnTo>
                  <a:pt x="864145" y="143465"/>
                </a:lnTo>
                <a:lnTo>
                  <a:pt x="864146" y="744093"/>
                </a:lnTo>
                <a:lnTo>
                  <a:pt x="863405" y="758799"/>
                </a:lnTo>
                <a:lnTo>
                  <a:pt x="852873" y="800069"/>
                </a:lnTo>
                <a:lnTo>
                  <a:pt x="831390" y="835566"/>
                </a:lnTo>
                <a:lnTo>
                  <a:pt x="800899" y="863358"/>
                </a:lnTo>
                <a:lnTo>
                  <a:pt x="763348" y="881516"/>
                </a:lnTo>
                <a:lnTo>
                  <a:pt x="720680" y="888109"/>
                </a:lnTo>
                <a:lnTo>
                  <a:pt x="144017" y="888111"/>
                </a:lnTo>
                <a:lnTo>
                  <a:pt x="129326" y="887371"/>
                </a:lnTo>
                <a:lnTo>
                  <a:pt x="88079" y="876856"/>
                </a:lnTo>
                <a:lnTo>
                  <a:pt x="52581" y="855396"/>
                </a:lnTo>
                <a:lnTo>
                  <a:pt x="24776" y="824920"/>
                </a:lnTo>
                <a:lnTo>
                  <a:pt x="6602" y="787360"/>
                </a:lnTo>
                <a:lnTo>
                  <a:pt x="1" y="744646"/>
                </a:lnTo>
                <a:lnTo>
                  <a:pt x="0" y="144018"/>
                </a:lnTo>
                <a:close/>
              </a:path>
            </a:pathLst>
          </a:custGeom>
          <a:ln w="25400">
            <a:solidFill>
              <a:srgbClr val="3A391C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1269111" y="3661143"/>
            <a:ext cx="2527300" cy="369570"/>
          </a:xfrm>
          <a:custGeom>
            <a:avLst/>
            <a:gdLst/>
            <a:ahLst/>
            <a:cxnLst/>
            <a:rect l="l" t="t" r="r" b="b"/>
            <a:pathLst>
              <a:path w="2527300" h="369570">
                <a:moveTo>
                  <a:pt x="0" y="369328"/>
                </a:moveTo>
                <a:lnTo>
                  <a:pt x="2527300" y="369328"/>
                </a:lnTo>
                <a:lnTo>
                  <a:pt x="2527300" y="0"/>
                </a:lnTo>
                <a:lnTo>
                  <a:pt x="0" y="0"/>
                </a:lnTo>
                <a:lnTo>
                  <a:pt x="0" y="369328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1359535" y="3332098"/>
            <a:ext cx="1227455" cy="6546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8430">
              <a:lnSpc>
                <a:spcPct val="100000"/>
              </a:lnSpc>
              <a:tabLst>
                <a:tab pos="1129665" algn="l"/>
              </a:tabLst>
            </a:pPr>
            <a:r>
              <a:rPr sz="1200" b="1" dirty="0">
                <a:latin typeface="Arial"/>
                <a:cs typeface="Arial"/>
              </a:rPr>
              <a:t>1	2</a:t>
            </a:r>
            <a:endParaRPr sz="1200">
              <a:latin typeface="Arial"/>
              <a:cs typeface="Arial"/>
            </a:endParaRPr>
          </a:p>
          <a:p>
            <a:pPr>
              <a:lnSpc>
                <a:spcPts val="1400"/>
              </a:lnSpc>
              <a:spcBef>
                <a:spcPts val="71"/>
              </a:spcBef>
            </a:pPr>
            <a:endParaRPr sz="1400"/>
          </a:p>
          <a:p>
            <a:pPr marL="12700">
              <a:lnSpc>
                <a:spcPct val="100000"/>
              </a:lnSpc>
            </a:pPr>
            <a:r>
              <a:rPr sz="1800" b="1" i="1" dirty="0">
                <a:latin typeface="Arial"/>
                <a:cs typeface="Arial"/>
              </a:rPr>
              <a:t>W</a:t>
            </a:r>
            <a:r>
              <a:rPr sz="1800" b="1" i="1" spc="-235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o</a:t>
            </a:r>
            <a:r>
              <a:rPr sz="1800" b="1" i="1" spc="-20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r</a:t>
            </a:r>
            <a:r>
              <a:rPr sz="1800" b="1" i="1" spc="-21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k</a:t>
            </a:r>
            <a:r>
              <a:rPr sz="1800" b="1" i="1" spc="-21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i</a:t>
            </a:r>
            <a:r>
              <a:rPr sz="1800" b="1" i="1" spc="-20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n</a:t>
            </a:r>
            <a:r>
              <a:rPr sz="1800" b="1" i="1" spc="-20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g</a:t>
            </a:r>
            <a:endParaRPr sz="1800"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2636266" y="3701795"/>
            <a:ext cx="1029335" cy="2851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i="1" dirty="0">
                <a:latin typeface="Arial"/>
                <a:cs typeface="Arial"/>
              </a:rPr>
              <a:t>G</a:t>
            </a:r>
            <a:r>
              <a:rPr sz="1800" b="1" i="1" spc="-20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r</a:t>
            </a:r>
            <a:r>
              <a:rPr sz="1800" b="1" i="1" spc="-21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o</a:t>
            </a:r>
            <a:r>
              <a:rPr sz="1800" b="1" i="1" spc="-20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u</a:t>
            </a:r>
            <a:r>
              <a:rPr sz="1800" b="1" i="1" spc="-20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p</a:t>
            </a:r>
            <a:r>
              <a:rPr sz="1800" b="1" i="1" spc="-200" dirty="0">
                <a:latin typeface="Arial"/>
                <a:cs typeface="Arial"/>
              </a:rPr>
              <a:t> </a:t>
            </a:r>
            <a:r>
              <a:rPr sz="1800" b="1" i="1" dirty="0">
                <a:latin typeface="Arial"/>
                <a:cs typeface="Arial"/>
              </a:rPr>
              <a:t>s</a:t>
            </a:r>
            <a:endParaRPr sz="1800"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3432175" y="3332098"/>
            <a:ext cx="110489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latin typeface="Arial"/>
                <a:cs typeface="Arial"/>
              </a:rPr>
              <a:t>3</a:t>
            </a:r>
            <a:endParaRPr sz="1200">
              <a:latin typeface="Arial"/>
              <a:cs typeface="Arial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327530" y="4267072"/>
            <a:ext cx="2454910" cy="685800"/>
          </a:xfrm>
          <a:custGeom>
            <a:avLst/>
            <a:gdLst/>
            <a:ahLst/>
            <a:cxnLst/>
            <a:rect l="l" t="t" r="r" b="b"/>
            <a:pathLst>
              <a:path w="2454910" h="685800">
                <a:moveTo>
                  <a:pt x="1227201" y="0"/>
                </a:moveTo>
                <a:lnTo>
                  <a:pt x="0" y="685800"/>
                </a:lnTo>
                <a:lnTo>
                  <a:pt x="2454402" y="685800"/>
                </a:lnTo>
                <a:lnTo>
                  <a:pt x="1227201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283324" y="1524000"/>
            <a:ext cx="4110990" cy="4648200"/>
          </a:xfrm>
          <a:custGeom>
            <a:avLst/>
            <a:gdLst/>
            <a:ahLst/>
            <a:cxnLst/>
            <a:rect l="l" t="t" r="r" b="b"/>
            <a:pathLst>
              <a:path w="4110990" h="4648200">
                <a:moveTo>
                  <a:pt x="0" y="270890"/>
                </a:moveTo>
                <a:lnTo>
                  <a:pt x="3544" y="226951"/>
                </a:lnTo>
                <a:lnTo>
                  <a:pt x="13807" y="185269"/>
                </a:lnTo>
                <a:lnTo>
                  <a:pt x="30230" y="146402"/>
                </a:lnTo>
                <a:lnTo>
                  <a:pt x="52256" y="110907"/>
                </a:lnTo>
                <a:lnTo>
                  <a:pt x="79327" y="79343"/>
                </a:lnTo>
                <a:lnTo>
                  <a:pt x="110885" y="52267"/>
                </a:lnTo>
                <a:lnTo>
                  <a:pt x="146373" y="30236"/>
                </a:lnTo>
                <a:lnTo>
                  <a:pt x="185233" y="13810"/>
                </a:lnTo>
                <a:lnTo>
                  <a:pt x="226908" y="3545"/>
                </a:lnTo>
                <a:lnTo>
                  <a:pt x="270840" y="0"/>
                </a:lnTo>
                <a:lnTo>
                  <a:pt x="3839730" y="0"/>
                </a:lnTo>
                <a:lnTo>
                  <a:pt x="3883635" y="3545"/>
                </a:lnTo>
                <a:lnTo>
                  <a:pt x="3925290" y="13810"/>
                </a:lnTo>
                <a:lnTo>
                  <a:pt x="3964135" y="30236"/>
                </a:lnTo>
                <a:lnTo>
                  <a:pt x="3999614" y="52267"/>
                </a:lnTo>
                <a:lnTo>
                  <a:pt x="4031167" y="79343"/>
                </a:lnTo>
                <a:lnTo>
                  <a:pt x="4058235" y="110907"/>
                </a:lnTo>
                <a:lnTo>
                  <a:pt x="4080261" y="146402"/>
                </a:lnTo>
                <a:lnTo>
                  <a:pt x="4096685" y="185269"/>
                </a:lnTo>
                <a:lnTo>
                  <a:pt x="4106949" y="226951"/>
                </a:lnTo>
                <a:lnTo>
                  <a:pt x="4110494" y="270890"/>
                </a:lnTo>
                <a:lnTo>
                  <a:pt x="4110494" y="4377359"/>
                </a:lnTo>
                <a:lnTo>
                  <a:pt x="4106949" y="4421291"/>
                </a:lnTo>
                <a:lnTo>
                  <a:pt x="4096685" y="4462966"/>
                </a:lnTo>
                <a:lnTo>
                  <a:pt x="4080261" y="4501826"/>
                </a:lnTo>
                <a:lnTo>
                  <a:pt x="4058235" y="4537314"/>
                </a:lnTo>
                <a:lnTo>
                  <a:pt x="4031167" y="4568872"/>
                </a:lnTo>
                <a:lnTo>
                  <a:pt x="3999614" y="4595943"/>
                </a:lnTo>
                <a:lnTo>
                  <a:pt x="3964135" y="4617969"/>
                </a:lnTo>
                <a:lnTo>
                  <a:pt x="3925290" y="4634392"/>
                </a:lnTo>
                <a:lnTo>
                  <a:pt x="3883635" y="4644655"/>
                </a:lnTo>
                <a:lnTo>
                  <a:pt x="3839730" y="4648200"/>
                </a:lnTo>
                <a:lnTo>
                  <a:pt x="270840" y="4648200"/>
                </a:lnTo>
                <a:lnTo>
                  <a:pt x="226908" y="4644655"/>
                </a:lnTo>
                <a:lnTo>
                  <a:pt x="185233" y="4634392"/>
                </a:lnTo>
                <a:lnTo>
                  <a:pt x="146373" y="4617969"/>
                </a:lnTo>
                <a:lnTo>
                  <a:pt x="110885" y="4595943"/>
                </a:lnTo>
                <a:lnTo>
                  <a:pt x="79327" y="4568872"/>
                </a:lnTo>
                <a:lnTo>
                  <a:pt x="52256" y="4537314"/>
                </a:lnTo>
                <a:lnTo>
                  <a:pt x="30230" y="4501826"/>
                </a:lnTo>
                <a:lnTo>
                  <a:pt x="13807" y="4462966"/>
                </a:lnTo>
                <a:lnTo>
                  <a:pt x="3544" y="4421291"/>
                </a:lnTo>
                <a:lnTo>
                  <a:pt x="0" y="4377359"/>
                </a:lnTo>
                <a:lnTo>
                  <a:pt x="0" y="270890"/>
                </a:lnTo>
                <a:close/>
              </a:path>
            </a:pathLst>
          </a:custGeom>
          <a:ln w="25400">
            <a:solidFill>
              <a:srgbClr val="7E7E7E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060030" y="1349108"/>
            <a:ext cx="2557145" cy="369570"/>
          </a:xfrm>
          <a:custGeom>
            <a:avLst/>
            <a:gdLst/>
            <a:ahLst/>
            <a:cxnLst/>
            <a:rect l="l" t="t" r="r" b="b"/>
            <a:pathLst>
              <a:path w="2557145" h="369569">
                <a:moveTo>
                  <a:pt x="0" y="369328"/>
                </a:moveTo>
                <a:lnTo>
                  <a:pt x="2557145" y="369328"/>
                </a:lnTo>
                <a:lnTo>
                  <a:pt x="2557145" y="0"/>
                </a:lnTo>
                <a:lnTo>
                  <a:pt x="0" y="0"/>
                </a:lnTo>
                <a:lnTo>
                  <a:pt x="0" y="36932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724400" y="1524000"/>
            <a:ext cx="4110990" cy="4648200"/>
          </a:xfrm>
          <a:custGeom>
            <a:avLst/>
            <a:gdLst/>
            <a:ahLst/>
            <a:cxnLst/>
            <a:rect l="l" t="t" r="r" b="b"/>
            <a:pathLst>
              <a:path w="4110990" h="4648200">
                <a:moveTo>
                  <a:pt x="0" y="270890"/>
                </a:moveTo>
                <a:lnTo>
                  <a:pt x="3545" y="226951"/>
                </a:lnTo>
                <a:lnTo>
                  <a:pt x="13810" y="185269"/>
                </a:lnTo>
                <a:lnTo>
                  <a:pt x="30236" y="146402"/>
                </a:lnTo>
                <a:lnTo>
                  <a:pt x="52267" y="110907"/>
                </a:lnTo>
                <a:lnTo>
                  <a:pt x="79343" y="79343"/>
                </a:lnTo>
                <a:lnTo>
                  <a:pt x="110907" y="52267"/>
                </a:lnTo>
                <a:lnTo>
                  <a:pt x="146402" y="30236"/>
                </a:lnTo>
                <a:lnTo>
                  <a:pt x="185269" y="13810"/>
                </a:lnTo>
                <a:lnTo>
                  <a:pt x="226951" y="3545"/>
                </a:lnTo>
                <a:lnTo>
                  <a:pt x="270890" y="0"/>
                </a:lnTo>
                <a:lnTo>
                  <a:pt x="3839718" y="0"/>
                </a:lnTo>
                <a:lnTo>
                  <a:pt x="3883622" y="3545"/>
                </a:lnTo>
                <a:lnTo>
                  <a:pt x="3925277" y="13810"/>
                </a:lnTo>
                <a:lnTo>
                  <a:pt x="3964123" y="30236"/>
                </a:lnTo>
                <a:lnTo>
                  <a:pt x="3999601" y="52267"/>
                </a:lnTo>
                <a:lnTo>
                  <a:pt x="4031154" y="79343"/>
                </a:lnTo>
                <a:lnTo>
                  <a:pt x="4058223" y="110907"/>
                </a:lnTo>
                <a:lnTo>
                  <a:pt x="4080248" y="146402"/>
                </a:lnTo>
                <a:lnTo>
                  <a:pt x="4096672" y="185269"/>
                </a:lnTo>
                <a:lnTo>
                  <a:pt x="4106936" y="226951"/>
                </a:lnTo>
                <a:lnTo>
                  <a:pt x="4110481" y="270890"/>
                </a:lnTo>
                <a:lnTo>
                  <a:pt x="4110481" y="4377359"/>
                </a:lnTo>
                <a:lnTo>
                  <a:pt x="4106936" y="4421291"/>
                </a:lnTo>
                <a:lnTo>
                  <a:pt x="4096672" y="4462966"/>
                </a:lnTo>
                <a:lnTo>
                  <a:pt x="4080248" y="4501826"/>
                </a:lnTo>
                <a:lnTo>
                  <a:pt x="4058223" y="4537314"/>
                </a:lnTo>
                <a:lnTo>
                  <a:pt x="4031154" y="4568872"/>
                </a:lnTo>
                <a:lnTo>
                  <a:pt x="3999601" y="4595943"/>
                </a:lnTo>
                <a:lnTo>
                  <a:pt x="3964123" y="4617969"/>
                </a:lnTo>
                <a:lnTo>
                  <a:pt x="3925277" y="4634392"/>
                </a:lnTo>
                <a:lnTo>
                  <a:pt x="3883622" y="4644655"/>
                </a:lnTo>
                <a:lnTo>
                  <a:pt x="3839718" y="4648200"/>
                </a:lnTo>
                <a:lnTo>
                  <a:pt x="270890" y="4648200"/>
                </a:lnTo>
                <a:lnTo>
                  <a:pt x="226951" y="4644655"/>
                </a:lnTo>
                <a:lnTo>
                  <a:pt x="185269" y="4634392"/>
                </a:lnTo>
                <a:lnTo>
                  <a:pt x="146402" y="4617969"/>
                </a:lnTo>
                <a:lnTo>
                  <a:pt x="110907" y="4595943"/>
                </a:lnTo>
                <a:lnTo>
                  <a:pt x="79343" y="4568872"/>
                </a:lnTo>
                <a:lnTo>
                  <a:pt x="52267" y="4537314"/>
                </a:lnTo>
                <a:lnTo>
                  <a:pt x="30236" y="4501826"/>
                </a:lnTo>
                <a:lnTo>
                  <a:pt x="13810" y="4462966"/>
                </a:lnTo>
                <a:lnTo>
                  <a:pt x="3545" y="4421291"/>
                </a:lnTo>
                <a:lnTo>
                  <a:pt x="0" y="4377359"/>
                </a:lnTo>
                <a:lnTo>
                  <a:pt x="0" y="270890"/>
                </a:lnTo>
                <a:close/>
              </a:path>
            </a:pathLst>
          </a:custGeom>
          <a:ln w="25400">
            <a:solidFill>
              <a:srgbClr val="7E7E7E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6" name="object 56"/>
          <p:cNvSpPr txBox="1"/>
          <p:nvPr/>
        </p:nvSpPr>
        <p:spPr>
          <a:xfrm>
            <a:off x="4883277" y="2862960"/>
            <a:ext cx="3222625" cy="10179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35" dirty="0">
                <a:solidFill>
                  <a:srgbClr val="A70140"/>
                </a:solidFill>
                <a:latin typeface="Arial"/>
                <a:cs typeface="Arial"/>
              </a:rPr>
              <a:t>W</a:t>
            </a:r>
            <a:r>
              <a:rPr sz="1800" b="1" dirty="0">
                <a:solidFill>
                  <a:srgbClr val="A70140"/>
                </a:solidFill>
                <a:latin typeface="Arial"/>
                <a:cs typeface="Arial"/>
              </a:rPr>
              <a:t>orking</a:t>
            </a:r>
            <a:r>
              <a:rPr sz="1800" b="1" spc="-5" dirty="0">
                <a:solidFill>
                  <a:srgbClr val="A7014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A70140"/>
                </a:solidFill>
                <a:latin typeface="Arial"/>
                <a:cs typeface="Arial"/>
              </a:rPr>
              <a:t>Gro</a:t>
            </a:r>
            <a:r>
              <a:rPr sz="1800" b="1" spc="5" dirty="0">
                <a:solidFill>
                  <a:srgbClr val="A70140"/>
                </a:solidFill>
                <a:latin typeface="Arial"/>
                <a:cs typeface="Arial"/>
              </a:rPr>
              <a:t>u</a:t>
            </a:r>
            <a:r>
              <a:rPr sz="1800" b="1" dirty="0">
                <a:solidFill>
                  <a:srgbClr val="A70140"/>
                </a:solidFill>
                <a:latin typeface="Arial"/>
                <a:cs typeface="Arial"/>
              </a:rPr>
              <a:t>ps</a:t>
            </a:r>
            <a:endParaRPr sz="1800" dirty="0">
              <a:latin typeface="Arial"/>
              <a:cs typeface="Arial"/>
            </a:endParaRPr>
          </a:p>
          <a:p>
            <a:pPr marL="411480" marR="6350" indent="-283210" algn="just">
              <a:lnSpc>
                <a:spcPct val="100000"/>
              </a:lnSpc>
              <a:spcBef>
                <a:spcPts val="5"/>
              </a:spcBef>
              <a:buFont typeface="Wingdings"/>
              <a:buChar char=""/>
              <a:tabLst>
                <a:tab pos="412115" algn="l"/>
              </a:tabLst>
            </a:pPr>
            <a:r>
              <a:rPr sz="1600" spc="-10" dirty="0">
                <a:latin typeface="Arial"/>
                <a:cs typeface="Arial"/>
              </a:rPr>
              <a:t>Lead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i</a:t>
            </a:r>
            <a:r>
              <a:rPr sz="1600" spc="-15" dirty="0">
                <a:latin typeface="Arial"/>
                <a:cs typeface="Arial"/>
              </a:rPr>
              <a:t>mp</a:t>
            </a:r>
            <a:r>
              <a:rPr sz="1600" dirty="0">
                <a:latin typeface="Arial"/>
                <a:cs typeface="Arial"/>
              </a:rPr>
              <a:t>l</a:t>
            </a:r>
            <a:r>
              <a:rPr sz="1600" spc="-10" dirty="0">
                <a:latin typeface="Arial"/>
                <a:cs typeface="Arial"/>
              </a:rPr>
              <a:t>ementation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i</a:t>
            </a:r>
            <a:r>
              <a:rPr sz="1600" spc="-10" dirty="0">
                <a:latin typeface="Arial"/>
                <a:cs typeface="Arial"/>
              </a:rPr>
              <a:t>ncluding indicator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selection</a:t>
            </a:r>
            <a:r>
              <a:rPr sz="1600" spc="-2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and</a:t>
            </a:r>
            <a:r>
              <a:rPr sz="1600" spc="1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strategy setting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4883277" y="4082542"/>
            <a:ext cx="3690620" cy="7740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solidFill>
                  <a:srgbClr val="505F0C"/>
                </a:solidFill>
                <a:latin typeface="Arial"/>
                <a:cs typeface="Arial"/>
              </a:rPr>
              <a:t>P</a:t>
            </a:r>
            <a:r>
              <a:rPr sz="1800" b="1" spc="-10" dirty="0">
                <a:solidFill>
                  <a:srgbClr val="505F0C"/>
                </a:solidFill>
                <a:latin typeface="Arial"/>
                <a:cs typeface="Arial"/>
              </a:rPr>
              <a:t>a</a:t>
            </a:r>
            <a:r>
              <a:rPr sz="1800" b="1" dirty="0">
                <a:solidFill>
                  <a:srgbClr val="505F0C"/>
                </a:solidFill>
                <a:latin typeface="Arial"/>
                <a:cs typeface="Arial"/>
              </a:rPr>
              <a:t>rtne</a:t>
            </a:r>
            <a:r>
              <a:rPr sz="1800" b="1" spc="-10" dirty="0">
                <a:solidFill>
                  <a:srgbClr val="505F0C"/>
                </a:solidFill>
                <a:latin typeface="Arial"/>
                <a:cs typeface="Arial"/>
              </a:rPr>
              <a:t>r</a:t>
            </a:r>
            <a:r>
              <a:rPr sz="1800" b="1" dirty="0">
                <a:solidFill>
                  <a:srgbClr val="505F0C"/>
                </a:solidFill>
                <a:latin typeface="Arial"/>
                <a:cs typeface="Arial"/>
              </a:rPr>
              <a:t>s</a:t>
            </a:r>
            <a:r>
              <a:rPr sz="1800" b="1" spc="5" dirty="0">
                <a:solidFill>
                  <a:srgbClr val="505F0C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505F0C"/>
                </a:solidFill>
                <a:latin typeface="Arial"/>
                <a:cs typeface="Arial"/>
              </a:rPr>
              <a:t>&amp; Com</a:t>
            </a:r>
            <a:r>
              <a:rPr sz="1800" b="1" spc="-10" dirty="0">
                <a:solidFill>
                  <a:srgbClr val="505F0C"/>
                </a:solidFill>
                <a:latin typeface="Arial"/>
                <a:cs typeface="Arial"/>
              </a:rPr>
              <a:t>m</a:t>
            </a:r>
            <a:r>
              <a:rPr sz="1800" b="1" dirty="0">
                <a:solidFill>
                  <a:srgbClr val="505F0C"/>
                </a:solidFill>
                <a:latin typeface="Arial"/>
                <a:cs typeface="Arial"/>
              </a:rPr>
              <a:t>u</a:t>
            </a:r>
            <a:r>
              <a:rPr sz="1800" b="1" spc="5" dirty="0">
                <a:solidFill>
                  <a:srgbClr val="505F0C"/>
                </a:solidFill>
                <a:latin typeface="Arial"/>
                <a:cs typeface="Arial"/>
              </a:rPr>
              <a:t>n</a:t>
            </a:r>
            <a:r>
              <a:rPr sz="1800" b="1" dirty="0">
                <a:solidFill>
                  <a:srgbClr val="505F0C"/>
                </a:solidFill>
                <a:latin typeface="Arial"/>
                <a:cs typeface="Arial"/>
              </a:rPr>
              <a:t>ity Me</a:t>
            </a:r>
            <a:r>
              <a:rPr sz="1800" b="1" spc="-10" dirty="0">
                <a:solidFill>
                  <a:srgbClr val="505F0C"/>
                </a:solidFill>
                <a:latin typeface="Arial"/>
                <a:cs typeface="Arial"/>
              </a:rPr>
              <a:t>m</a:t>
            </a:r>
            <a:r>
              <a:rPr sz="1800" b="1" dirty="0">
                <a:solidFill>
                  <a:srgbClr val="505F0C"/>
                </a:solidFill>
                <a:latin typeface="Arial"/>
                <a:cs typeface="Arial"/>
              </a:rPr>
              <a:t>bers</a:t>
            </a:r>
            <a:endParaRPr sz="1800">
              <a:latin typeface="Arial"/>
              <a:cs typeface="Arial"/>
            </a:endParaRPr>
          </a:p>
          <a:p>
            <a:pPr marL="411480" marR="6350" indent="-283210">
              <a:lnSpc>
                <a:spcPct val="100000"/>
              </a:lnSpc>
              <a:spcBef>
                <a:spcPts val="5"/>
              </a:spcBef>
              <a:buFont typeface="Wingdings"/>
              <a:buChar char=""/>
              <a:tabLst>
                <a:tab pos="412115" algn="l"/>
              </a:tabLst>
            </a:pPr>
            <a:r>
              <a:rPr sz="1600" spc="-10" dirty="0">
                <a:latin typeface="Arial"/>
                <a:cs typeface="Arial"/>
              </a:rPr>
              <a:t>Collaborate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on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i</a:t>
            </a:r>
            <a:r>
              <a:rPr sz="1600" spc="-10" dirty="0">
                <a:latin typeface="Arial"/>
                <a:cs typeface="Arial"/>
              </a:rPr>
              <a:t>ndicator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selection, strategy</a:t>
            </a:r>
            <a:r>
              <a:rPr sz="1600" spc="1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setting,</a:t>
            </a:r>
            <a:r>
              <a:rPr sz="1600" spc="1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and</a:t>
            </a:r>
            <a:r>
              <a:rPr sz="1600" spc="1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imp</a:t>
            </a:r>
            <a:r>
              <a:rPr sz="1600" dirty="0">
                <a:latin typeface="Arial"/>
                <a:cs typeface="Arial"/>
              </a:rPr>
              <a:t>l</a:t>
            </a:r>
            <a:r>
              <a:rPr sz="1600" spc="-10" dirty="0">
                <a:latin typeface="Arial"/>
                <a:cs typeface="Arial"/>
              </a:rPr>
              <a:t>ementation</a:t>
            </a:r>
            <a:endParaRPr sz="1600">
              <a:latin typeface="Arial"/>
              <a:cs typeface="Arial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883277" y="5058155"/>
            <a:ext cx="3440429" cy="10179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solidFill>
                  <a:srgbClr val="004A82"/>
                </a:solidFill>
                <a:latin typeface="Arial"/>
                <a:cs typeface="Arial"/>
              </a:rPr>
              <a:t>B</a:t>
            </a:r>
            <a:r>
              <a:rPr sz="1800" b="1" spc="-15" dirty="0">
                <a:solidFill>
                  <a:srgbClr val="004A82"/>
                </a:solidFill>
                <a:latin typeface="Arial"/>
                <a:cs typeface="Arial"/>
              </a:rPr>
              <a:t>a</a:t>
            </a:r>
            <a:r>
              <a:rPr sz="1800" b="1" spc="-10" dirty="0">
                <a:solidFill>
                  <a:srgbClr val="004A82"/>
                </a:solidFill>
                <a:latin typeface="Arial"/>
                <a:cs typeface="Arial"/>
              </a:rPr>
              <a:t>ck</a:t>
            </a:r>
            <a:r>
              <a:rPr sz="1800" b="1" dirty="0">
                <a:solidFill>
                  <a:srgbClr val="004A82"/>
                </a:solidFill>
                <a:latin typeface="Arial"/>
                <a:cs typeface="Arial"/>
              </a:rPr>
              <a:t>bone</a:t>
            </a:r>
            <a:endParaRPr sz="1800">
              <a:latin typeface="Arial"/>
              <a:cs typeface="Arial"/>
            </a:endParaRPr>
          </a:p>
          <a:p>
            <a:pPr marL="411480" marR="6350" indent="-283210">
              <a:lnSpc>
                <a:spcPct val="100000"/>
              </a:lnSpc>
              <a:spcBef>
                <a:spcPts val="5"/>
              </a:spcBef>
              <a:buFont typeface="Wingdings"/>
              <a:buChar char=""/>
              <a:tabLst>
                <a:tab pos="412115" algn="l"/>
              </a:tabLst>
            </a:pPr>
            <a:r>
              <a:rPr sz="1600" spc="-10" dirty="0">
                <a:latin typeface="Arial"/>
                <a:cs typeface="Arial"/>
              </a:rPr>
              <a:t>Serve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as</a:t>
            </a:r>
            <a:r>
              <a:rPr sz="1600" spc="1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a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neutral,</a:t>
            </a:r>
            <a:r>
              <a:rPr sz="1600" spc="1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coordinating ent</a:t>
            </a:r>
            <a:r>
              <a:rPr sz="1600" dirty="0">
                <a:latin typeface="Arial"/>
                <a:cs typeface="Arial"/>
              </a:rPr>
              <a:t>i</a:t>
            </a:r>
            <a:r>
              <a:rPr sz="1600" spc="-10" dirty="0">
                <a:latin typeface="Arial"/>
                <a:cs typeface="Arial"/>
              </a:rPr>
              <a:t>ty</a:t>
            </a:r>
            <a:r>
              <a:rPr sz="160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that</a:t>
            </a:r>
            <a:r>
              <a:rPr sz="1600" spc="2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con</a:t>
            </a:r>
            <a:r>
              <a:rPr sz="1600" spc="-5" dirty="0">
                <a:latin typeface="Arial"/>
                <a:cs typeface="Arial"/>
              </a:rPr>
              <a:t>v</a:t>
            </a:r>
            <a:r>
              <a:rPr sz="1600" spc="-10" dirty="0">
                <a:latin typeface="Arial"/>
                <a:cs typeface="Arial"/>
              </a:rPr>
              <a:t>enes stakeho</a:t>
            </a:r>
            <a:r>
              <a:rPr sz="1600" dirty="0">
                <a:latin typeface="Arial"/>
                <a:cs typeface="Arial"/>
              </a:rPr>
              <a:t>l</a:t>
            </a:r>
            <a:r>
              <a:rPr sz="1600" spc="-10" dirty="0">
                <a:latin typeface="Arial"/>
                <a:cs typeface="Arial"/>
              </a:rPr>
              <a:t>ders and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manages</a:t>
            </a:r>
            <a:r>
              <a:rPr sz="1600" spc="1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activities</a:t>
            </a:r>
            <a:endParaRPr sz="1600">
              <a:latin typeface="Arial"/>
              <a:cs typeface="Arial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6129528" y="1349133"/>
            <a:ext cx="1300480" cy="406400"/>
          </a:xfrm>
          <a:custGeom>
            <a:avLst/>
            <a:gdLst/>
            <a:ahLst/>
            <a:cxnLst/>
            <a:rect l="l" t="t" r="r" b="b"/>
            <a:pathLst>
              <a:path w="1300479" h="406400">
                <a:moveTo>
                  <a:pt x="0" y="406260"/>
                </a:moveTo>
                <a:lnTo>
                  <a:pt x="1300352" y="406260"/>
                </a:lnTo>
                <a:lnTo>
                  <a:pt x="1300352" y="0"/>
                </a:lnTo>
                <a:lnTo>
                  <a:pt x="0" y="0"/>
                </a:lnTo>
                <a:lnTo>
                  <a:pt x="0" y="4062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60" name="object 60"/>
          <p:cNvSpPr txBox="1"/>
          <p:nvPr/>
        </p:nvSpPr>
        <p:spPr>
          <a:xfrm>
            <a:off x="1151331" y="1389253"/>
            <a:ext cx="6195695" cy="2724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140"/>
              </a:lnSpc>
              <a:tabLst>
                <a:tab pos="5076825" algn="l"/>
              </a:tabLst>
            </a:pPr>
            <a:r>
              <a:rPr sz="1800" b="1" dirty="0">
                <a:latin typeface="Arial"/>
                <a:cs typeface="Arial"/>
              </a:rPr>
              <a:t>Notion</a:t>
            </a:r>
            <a:r>
              <a:rPr sz="1800" b="1" spc="-10" dirty="0">
                <a:latin typeface="Arial"/>
                <a:cs typeface="Arial"/>
              </a:rPr>
              <a:t>a</a:t>
            </a:r>
            <a:r>
              <a:rPr sz="1800" b="1" dirty="0">
                <a:latin typeface="Arial"/>
                <a:cs typeface="Arial"/>
              </a:rPr>
              <a:t>l</a:t>
            </a:r>
            <a:r>
              <a:rPr sz="1800" b="1" spc="-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CI</a:t>
            </a:r>
            <a:r>
              <a:rPr sz="1800" b="1" spc="-1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St</a:t>
            </a:r>
            <a:r>
              <a:rPr sz="1800" b="1" spc="-10" dirty="0">
                <a:latin typeface="Arial"/>
                <a:cs typeface="Arial"/>
              </a:rPr>
              <a:t>r</a:t>
            </a:r>
            <a:r>
              <a:rPr sz="1800" b="1" dirty="0">
                <a:latin typeface="Arial"/>
                <a:cs typeface="Arial"/>
              </a:rPr>
              <a:t>uctu</a:t>
            </a:r>
            <a:r>
              <a:rPr sz="1800" b="1" spc="-10" dirty="0">
                <a:latin typeface="Arial"/>
                <a:cs typeface="Arial"/>
              </a:rPr>
              <a:t>r</a:t>
            </a:r>
            <a:r>
              <a:rPr sz="1800" b="1" dirty="0">
                <a:latin typeface="Arial"/>
                <a:cs typeface="Arial"/>
              </a:rPr>
              <a:t>e	K</a:t>
            </a:r>
            <a:r>
              <a:rPr sz="1800" b="1" spc="-15" dirty="0">
                <a:latin typeface="Arial"/>
                <a:cs typeface="Arial"/>
              </a:rPr>
              <a:t>e</a:t>
            </a:r>
            <a:r>
              <a:rPr sz="1800" b="1" dirty="0">
                <a:latin typeface="Arial"/>
                <a:cs typeface="Arial"/>
              </a:rPr>
              <a:t>y</a:t>
            </a:r>
            <a:r>
              <a:rPr sz="1800" b="1" spc="5" dirty="0">
                <a:latin typeface="Arial"/>
                <a:cs typeface="Arial"/>
              </a:rPr>
              <a:t> </a:t>
            </a:r>
            <a:r>
              <a:rPr sz="1800" b="1" dirty="0">
                <a:latin typeface="Arial"/>
                <a:cs typeface="Arial"/>
              </a:rPr>
              <a:t>Rol</a:t>
            </a:r>
            <a:r>
              <a:rPr sz="1800" b="1" spc="-10" dirty="0">
                <a:latin typeface="Arial"/>
                <a:cs typeface="Arial"/>
              </a:rPr>
              <a:t>e</a:t>
            </a:r>
            <a:r>
              <a:rPr sz="1800" b="1" dirty="0">
                <a:latin typeface="Arial"/>
                <a:cs typeface="Arial"/>
              </a:rPr>
              <a:t>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62" name="object 62"/>
          <p:cNvSpPr txBox="1">
            <a:spLocks noGrp="1"/>
          </p:cNvSpPr>
          <p:nvPr>
            <p:ph type="sldNum" sz="quarter" idx="4294967295"/>
          </p:nvPr>
        </p:nvSpPr>
        <p:spPr>
          <a:xfrm>
            <a:off x="78739" y="6494170"/>
            <a:ext cx="8987790" cy="3308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36305" algn="ctr">
              <a:lnSpc>
                <a:spcPct val="100000"/>
              </a:lnSpc>
            </a:pPr>
            <a:endParaRPr sz="1000" dirty="0">
              <a:latin typeface="Arial"/>
              <a:cs typeface="Arial"/>
            </a:endParaRPr>
          </a:p>
          <a:p>
            <a:pPr marL="8536305" algn="ctr">
              <a:lnSpc>
                <a:spcPct val="100000"/>
              </a:lnSpc>
              <a:spcBef>
                <a:spcPts val="590"/>
              </a:spcBef>
            </a:pPr>
            <a:r>
              <a:rPr sz="600" dirty="0">
                <a:solidFill>
                  <a:srgbClr val="3A391C"/>
                </a:solidFill>
                <a:latin typeface="Arial"/>
                <a:cs typeface="Arial"/>
              </a:rPr>
              <a:t>©</a:t>
            </a:r>
            <a:r>
              <a:rPr sz="600" spc="-10" dirty="0">
                <a:solidFill>
                  <a:srgbClr val="3A391C"/>
                </a:solidFill>
                <a:latin typeface="Arial"/>
                <a:cs typeface="Arial"/>
              </a:rPr>
              <a:t> </a:t>
            </a:r>
            <a:r>
              <a:rPr sz="600" dirty="0">
                <a:solidFill>
                  <a:srgbClr val="3A391C"/>
                </a:solidFill>
                <a:latin typeface="Arial"/>
                <a:cs typeface="Arial"/>
              </a:rPr>
              <a:t>2014 F</a:t>
            </a:r>
            <a:r>
              <a:rPr sz="600" spc="-5" dirty="0">
                <a:solidFill>
                  <a:srgbClr val="3A391C"/>
                </a:solidFill>
                <a:latin typeface="Arial"/>
                <a:cs typeface="Arial"/>
              </a:rPr>
              <a:t>S</a:t>
            </a:r>
            <a:r>
              <a:rPr sz="600" dirty="0">
                <a:solidFill>
                  <a:srgbClr val="3A391C"/>
                </a:solidFill>
                <a:latin typeface="Arial"/>
                <a:cs typeface="Arial"/>
              </a:rPr>
              <a:t>G</a:t>
            </a:r>
            <a:endParaRPr sz="600" dirty="0">
              <a:latin typeface="Arial"/>
              <a:cs typeface="Arial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4883277" y="1825000"/>
            <a:ext cx="3728720" cy="7740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solidFill>
                  <a:srgbClr val="F47C07"/>
                </a:solidFill>
                <a:latin typeface="Arial"/>
                <a:cs typeface="Arial"/>
              </a:rPr>
              <a:t>Ste</a:t>
            </a:r>
            <a:r>
              <a:rPr sz="1800" b="1" spc="-10" dirty="0">
                <a:solidFill>
                  <a:srgbClr val="F47C07"/>
                </a:solidFill>
                <a:latin typeface="Arial"/>
                <a:cs typeface="Arial"/>
              </a:rPr>
              <a:t>e</a:t>
            </a:r>
            <a:r>
              <a:rPr sz="1800" b="1" dirty="0">
                <a:solidFill>
                  <a:srgbClr val="F47C07"/>
                </a:solidFill>
                <a:latin typeface="Arial"/>
                <a:cs typeface="Arial"/>
              </a:rPr>
              <a:t>ring</a:t>
            </a:r>
            <a:r>
              <a:rPr sz="1800" b="1" spc="5" dirty="0">
                <a:solidFill>
                  <a:srgbClr val="F47C07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47C07"/>
                </a:solidFill>
                <a:latin typeface="Arial"/>
                <a:cs typeface="Arial"/>
              </a:rPr>
              <a:t>Committee</a:t>
            </a:r>
            <a:endParaRPr sz="1800" dirty="0">
              <a:latin typeface="Arial"/>
              <a:cs typeface="Arial"/>
            </a:endParaRPr>
          </a:p>
          <a:p>
            <a:pPr marL="411480" marR="6350" indent="-283210">
              <a:lnSpc>
                <a:spcPct val="100000"/>
              </a:lnSpc>
              <a:spcBef>
                <a:spcPts val="5"/>
              </a:spcBef>
              <a:buFont typeface="Wingdings"/>
              <a:buChar char=""/>
              <a:tabLst>
                <a:tab pos="412115" algn="l"/>
              </a:tabLst>
            </a:pPr>
            <a:r>
              <a:rPr sz="1600" spc="-10" dirty="0">
                <a:latin typeface="Arial"/>
                <a:cs typeface="Arial"/>
              </a:rPr>
              <a:t>Provide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o</a:t>
            </a:r>
            <a:r>
              <a:rPr sz="1600" spc="-5" dirty="0">
                <a:latin typeface="Arial"/>
                <a:cs typeface="Arial"/>
              </a:rPr>
              <a:t>v</a:t>
            </a:r>
            <a:r>
              <a:rPr sz="1600" spc="-10" dirty="0">
                <a:latin typeface="Arial"/>
                <a:cs typeface="Arial"/>
              </a:rPr>
              <a:t>erall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vision</a:t>
            </a:r>
            <a:r>
              <a:rPr sz="1600" spc="-2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and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l</a:t>
            </a:r>
            <a:r>
              <a:rPr sz="1600" spc="-10" dirty="0">
                <a:latin typeface="Arial"/>
                <a:cs typeface="Arial"/>
              </a:rPr>
              <a:t>eadership for</a:t>
            </a:r>
            <a:r>
              <a:rPr sz="1600" spc="1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the</a:t>
            </a:r>
            <a:r>
              <a:rPr sz="1600" spc="10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e</a:t>
            </a:r>
            <a:r>
              <a:rPr sz="1600" spc="-30" dirty="0">
                <a:latin typeface="Arial"/>
                <a:cs typeface="Arial"/>
              </a:rPr>
              <a:t>f</a:t>
            </a:r>
            <a:r>
              <a:rPr sz="1600" spc="-10" dirty="0">
                <a:latin typeface="Arial"/>
                <a:cs typeface="Arial"/>
              </a:rPr>
              <a:t>fort</a:t>
            </a:r>
            <a:endParaRPr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9135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084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4494" y="331066"/>
            <a:ext cx="8355012" cy="659534"/>
          </a:xfrm>
        </p:spPr>
        <p:txBody>
          <a:bodyPr/>
          <a:lstStyle/>
          <a:p>
            <a:r>
              <a:rPr lang="en-US" sz="2400" dirty="0"/>
              <a:t>Collective Impact </a:t>
            </a:r>
            <a:r>
              <a:rPr lang="en-US" sz="2400" dirty="0" smtClean="0"/>
              <a:t>Infrastructure:</a:t>
            </a:r>
            <a:br>
              <a:rPr lang="en-US" sz="2400" dirty="0" smtClean="0"/>
            </a:br>
            <a:r>
              <a:rPr lang="en-US" sz="2400" dirty="0" smtClean="0"/>
              <a:t>Structuring for Intentionality and Uncertainty</a:t>
            </a:r>
            <a:endParaRPr lang="en-US" sz="2400" dirty="0"/>
          </a:p>
        </p:txBody>
      </p:sp>
      <p:sp>
        <p:nvSpPr>
          <p:cNvPr id="3" name="Title 5"/>
          <p:cNvSpPr txBox="1">
            <a:spLocks/>
          </p:cNvSpPr>
          <p:nvPr/>
        </p:nvSpPr>
        <p:spPr bwMode="auto">
          <a:xfrm>
            <a:off x="21266" y="6597352"/>
            <a:ext cx="8411592" cy="283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900" b="0" dirty="0" smtClean="0">
                <a:solidFill>
                  <a:srgbClr val="000000"/>
                </a:solidFill>
              </a:rPr>
              <a:t>* Adapted from </a:t>
            </a:r>
            <a:r>
              <a:rPr lang="en-US" sz="900" b="0" i="1" dirty="0" smtClean="0">
                <a:solidFill>
                  <a:srgbClr val="000000"/>
                </a:solidFill>
                <a:hlinkClick r:id="rId7"/>
              </a:rPr>
              <a:t>Listening to the Stars: The Constellation Model of Collaborative Social Change</a:t>
            </a:r>
            <a:r>
              <a:rPr lang="en-US" sz="900" b="0" i="1" dirty="0" smtClean="0">
                <a:solidFill>
                  <a:srgbClr val="000000"/>
                </a:solidFill>
              </a:rPr>
              <a:t>, </a:t>
            </a:r>
            <a:r>
              <a:rPr lang="en-US" sz="900" b="0" dirty="0" smtClean="0">
                <a:solidFill>
                  <a:srgbClr val="000000"/>
                </a:solidFill>
              </a:rPr>
              <a:t>by Tonya Surman and Mark Surman, 2008.</a:t>
            </a:r>
            <a:endParaRPr lang="en-US" sz="900" b="0" i="1" dirty="0">
              <a:solidFill>
                <a:srgbClr val="000000"/>
              </a:solidFill>
            </a:endParaRPr>
          </a:p>
        </p:txBody>
      </p:sp>
      <p:sp>
        <p:nvSpPr>
          <p:cNvPr id="99" name="Cloud 98"/>
          <p:cNvSpPr/>
          <p:nvPr/>
        </p:nvSpPr>
        <p:spPr>
          <a:xfrm rot="11386230">
            <a:off x="2620388" y="1799271"/>
            <a:ext cx="6200084" cy="4831015"/>
          </a:xfrm>
          <a:prstGeom prst="cloud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2298962" y="1495044"/>
            <a:ext cx="0" cy="5143252"/>
          </a:xfrm>
          <a:prstGeom prst="line">
            <a:avLst/>
          </a:prstGeom>
          <a:ln w="1905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400265" y="1518789"/>
            <a:ext cx="14795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rgbClr val="000000"/>
                </a:solidFill>
                <a:latin typeface="Arial"/>
              </a:rPr>
              <a:t>p</a:t>
            </a:r>
            <a:r>
              <a:rPr lang="en-US" sz="1400" b="1" i="1" dirty="0" smtClean="0">
                <a:solidFill>
                  <a:srgbClr val="000000"/>
                </a:solidFill>
                <a:latin typeface="Arial"/>
              </a:rPr>
              <a:t>artner-driven act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43508" y="1518789"/>
            <a:ext cx="2047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1" dirty="0">
                <a:solidFill>
                  <a:srgbClr val="000000"/>
                </a:solidFill>
                <a:latin typeface="Arial"/>
              </a:rPr>
              <a:t>s</a:t>
            </a:r>
            <a:r>
              <a:rPr lang="en-US" sz="1400" b="1" i="1" dirty="0" smtClean="0">
                <a:solidFill>
                  <a:srgbClr val="000000"/>
                </a:solidFill>
                <a:latin typeface="Arial"/>
              </a:rPr>
              <a:t>trategic guidance and support</a:t>
            </a:r>
          </a:p>
        </p:txBody>
      </p:sp>
      <p:sp>
        <p:nvSpPr>
          <p:cNvPr id="21" name="Rounded Rectangular Callout 20"/>
          <p:cNvSpPr/>
          <p:nvPr/>
        </p:nvSpPr>
        <p:spPr>
          <a:xfrm>
            <a:off x="7236296" y="1655372"/>
            <a:ext cx="1725168" cy="1269572"/>
          </a:xfrm>
          <a:prstGeom prst="wedgeRoundRectCallout">
            <a:avLst>
              <a:gd name="adj1" fmla="val -60149"/>
              <a:gd name="adj2" fmla="val 74560"/>
              <a:gd name="adj3" fmla="val 16667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1" name="Oval 100"/>
          <p:cNvSpPr/>
          <p:nvPr/>
        </p:nvSpPr>
        <p:spPr>
          <a:xfrm>
            <a:off x="7410809" y="1731610"/>
            <a:ext cx="213001" cy="184904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301393" y="1689886"/>
            <a:ext cx="17626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latin typeface="Arial"/>
              </a:rPr>
              <a:t>       </a:t>
            </a:r>
            <a:r>
              <a:rPr lang="en-US" sz="1400" dirty="0" smtClean="0">
                <a:solidFill>
                  <a:srgbClr val="FFFFFF"/>
                </a:solidFill>
                <a:latin typeface="Arial"/>
              </a:rPr>
              <a:t>=</a:t>
            </a:r>
            <a:r>
              <a:rPr lang="en-US" sz="14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dirty="0" smtClean="0">
                <a:solidFill>
                  <a:schemeClr val="bg1"/>
                </a:solidFill>
                <a:latin typeface="Arial"/>
              </a:rPr>
              <a:t>community</a:t>
            </a:r>
            <a:r>
              <a:rPr lang="en-US" sz="14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dirty="0" smtClean="0">
                <a:solidFill>
                  <a:srgbClr val="FFFFFF"/>
                </a:solidFill>
                <a:latin typeface="Arial"/>
              </a:rPr>
              <a:t>partner (e.g., nonprofit, funder, business, public agency, resident)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4673147" y="2366568"/>
            <a:ext cx="2125120" cy="51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rgbClr val="000000"/>
                </a:solidFill>
                <a:latin typeface="Arial"/>
              </a:rPr>
              <a:t>Ecosystem of Community Partners</a:t>
            </a:r>
          </a:p>
        </p:txBody>
      </p:sp>
      <p:sp>
        <p:nvSpPr>
          <p:cNvPr id="5" name="Rounded Rectangle 4"/>
          <p:cNvSpPr/>
          <p:nvPr/>
        </p:nvSpPr>
        <p:spPr>
          <a:xfrm flipV="1">
            <a:off x="461931" y="3754819"/>
            <a:ext cx="1488219" cy="2705376"/>
          </a:xfrm>
          <a:prstGeom prst="roundRect">
            <a:avLst/>
          </a:prstGeom>
          <a:solidFill>
            <a:srgbClr val="DFEEFF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5" name="TextBox 174"/>
          <p:cNvSpPr txBox="1"/>
          <p:nvPr/>
        </p:nvSpPr>
        <p:spPr>
          <a:xfrm rot="10800000" flipV="1">
            <a:off x="461932" y="4815120"/>
            <a:ext cx="14882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/>
              </a:rPr>
              <a:t>Backbone Support</a:t>
            </a:r>
          </a:p>
        </p:txBody>
      </p:sp>
      <p:cxnSp>
        <p:nvCxnSpPr>
          <p:cNvPr id="46" name="Straight Arrow Connector 45"/>
          <p:cNvCxnSpPr>
            <a:stCxn id="2" idx="0"/>
            <a:endCxn id="5" idx="2"/>
          </p:cNvCxnSpPr>
          <p:nvPr/>
        </p:nvCxnSpPr>
        <p:spPr>
          <a:xfrm>
            <a:off x="1203596" y="3450931"/>
            <a:ext cx="2444" cy="303889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/>
          <p:cNvSpPr/>
          <p:nvPr/>
        </p:nvSpPr>
        <p:spPr>
          <a:xfrm flipV="1">
            <a:off x="549157" y="2137878"/>
            <a:ext cx="1308879" cy="1313053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 flipV="1">
            <a:off x="494837" y="2387423"/>
            <a:ext cx="226083" cy="22608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0" name="TextBox 199"/>
          <p:cNvSpPr txBox="1"/>
          <p:nvPr/>
        </p:nvSpPr>
        <p:spPr>
          <a:xfrm rot="10800000" flipV="1">
            <a:off x="527361" y="2526258"/>
            <a:ext cx="1348868" cy="51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/>
              </a:rPr>
              <a:t>Steering Committee</a:t>
            </a:r>
          </a:p>
        </p:txBody>
      </p:sp>
      <p:sp>
        <p:nvSpPr>
          <p:cNvPr id="110" name="Oval 109"/>
          <p:cNvSpPr/>
          <p:nvPr/>
        </p:nvSpPr>
        <p:spPr>
          <a:xfrm flipV="1">
            <a:off x="769274" y="3254990"/>
            <a:ext cx="226083" cy="22608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8" name="Oval 117"/>
          <p:cNvSpPr/>
          <p:nvPr/>
        </p:nvSpPr>
        <p:spPr>
          <a:xfrm flipV="1">
            <a:off x="447849" y="2887287"/>
            <a:ext cx="226083" cy="22608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>
          <a:xfrm flipV="1">
            <a:off x="846405" y="2084209"/>
            <a:ext cx="226083" cy="22608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1" name="Oval 120"/>
          <p:cNvSpPr/>
          <p:nvPr/>
        </p:nvSpPr>
        <p:spPr>
          <a:xfrm flipH="1" flipV="1">
            <a:off x="1691161" y="2387423"/>
            <a:ext cx="226083" cy="22608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2" name="Oval 121"/>
          <p:cNvSpPr/>
          <p:nvPr/>
        </p:nvSpPr>
        <p:spPr>
          <a:xfrm flipH="1" flipV="1">
            <a:off x="1416724" y="3254990"/>
            <a:ext cx="226083" cy="22608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4" name="Oval 123"/>
          <p:cNvSpPr/>
          <p:nvPr/>
        </p:nvSpPr>
        <p:spPr>
          <a:xfrm flipH="1" flipV="1">
            <a:off x="1738149" y="2887287"/>
            <a:ext cx="226083" cy="22608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6" name="Oval 125"/>
          <p:cNvSpPr/>
          <p:nvPr/>
        </p:nvSpPr>
        <p:spPr>
          <a:xfrm flipH="1" flipV="1">
            <a:off x="1339593" y="2084209"/>
            <a:ext cx="226083" cy="22608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128" name="Straight Arrow Connector 127"/>
          <p:cNvCxnSpPr/>
          <p:nvPr/>
        </p:nvCxnSpPr>
        <p:spPr>
          <a:xfrm flipH="1">
            <a:off x="1964234" y="4102883"/>
            <a:ext cx="2762670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/>
          <p:cNvCxnSpPr/>
          <p:nvPr/>
        </p:nvCxnSpPr>
        <p:spPr>
          <a:xfrm flipH="1">
            <a:off x="1964233" y="4710353"/>
            <a:ext cx="4822466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/>
          <p:cNvCxnSpPr/>
          <p:nvPr/>
        </p:nvCxnSpPr>
        <p:spPr>
          <a:xfrm flipH="1">
            <a:off x="1964232" y="5317824"/>
            <a:ext cx="1735089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/>
          <p:cNvCxnSpPr/>
          <p:nvPr/>
        </p:nvCxnSpPr>
        <p:spPr>
          <a:xfrm flipH="1">
            <a:off x="1858036" y="2726764"/>
            <a:ext cx="2304576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6728711" y="3932489"/>
            <a:ext cx="1043800" cy="10438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7483229" y="4761686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7494922" y="3969425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6517006" y="4283132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7015041" y="4846251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6583836" y="3865438"/>
            <a:ext cx="405728" cy="4057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8142329" y="3894868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3" name="Oval 42"/>
          <p:cNvSpPr/>
          <p:nvPr/>
        </p:nvSpPr>
        <p:spPr>
          <a:xfrm>
            <a:off x="6229044" y="3067469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Oval 48"/>
          <p:cNvSpPr/>
          <p:nvPr/>
        </p:nvSpPr>
        <p:spPr>
          <a:xfrm>
            <a:off x="6078336" y="4059461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711188" y="4204665"/>
            <a:ext cx="1067557" cy="51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/>
              </a:rPr>
              <a:t>Work Group</a:t>
            </a:r>
          </a:p>
        </p:txBody>
      </p:sp>
      <p:sp>
        <p:nvSpPr>
          <p:cNvPr id="51" name="Oval 50"/>
          <p:cNvSpPr/>
          <p:nvPr/>
        </p:nvSpPr>
        <p:spPr>
          <a:xfrm>
            <a:off x="6897904" y="3660792"/>
            <a:ext cx="405728" cy="4057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3" name="Oval 52"/>
          <p:cNvSpPr/>
          <p:nvPr/>
        </p:nvSpPr>
        <p:spPr>
          <a:xfrm>
            <a:off x="6028664" y="2960508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>
            <a:off x="5378289" y="3318439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>
            <a:off x="4687963" y="3502602"/>
            <a:ext cx="832094" cy="83209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6" name="Oval 55"/>
          <p:cNvSpPr/>
          <p:nvPr/>
        </p:nvSpPr>
        <p:spPr>
          <a:xfrm>
            <a:off x="5465020" y="3878054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754732" y="3640746"/>
            <a:ext cx="737992" cy="51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/>
              </a:rPr>
              <a:t>Work Group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5370944" y="3526534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9" name="Oval 58"/>
          <p:cNvSpPr/>
          <p:nvPr/>
        </p:nvSpPr>
        <p:spPr>
          <a:xfrm>
            <a:off x="5133507" y="4142409"/>
            <a:ext cx="405728" cy="4057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2" name="Oval 61"/>
          <p:cNvSpPr/>
          <p:nvPr/>
        </p:nvSpPr>
        <p:spPr>
          <a:xfrm>
            <a:off x="4691494" y="4118445"/>
            <a:ext cx="405728" cy="4057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4" name="Oval 63"/>
          <p:cNvSpPr/>
          <p:nvPr/>
        </p:nvSpPr>
        <p:spPr>
          <a:xfrm>
            <a:off x="4764905" y="3102633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9" name="Oval 68"/>
          <p:cNvSpPr/>
          <p:nvPr/>
        </p:nvSpPr>
        <p:spPr>
          <a:xfrm>
            <a:off x="7670077" y="4527195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0" name="Oval 69"/>
          <p:cNvSpPr/>
          <p:nvPr/>
        </p:nvSpPr>
        <p:spPr>
          <a:xfrm>
            <a:off x="5251543" y="3475847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>
            <a:off x="3703621" y="4825423"/>
            <a:ext cx="832094" cy="83209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2" name="Oval 71"/>
          <p:cNvSpPr/>
          <p:nvPr/>
        </p:nvSpPr>
        <p:spPr>
          <a:xfrm>
            <a:off x="4204518" y="5527870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>
            <a:off x="3624643" y="5432655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767774" y="5023918"/>
            <a:ext cx="737992" cy="51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/>
              </a:rPr>
              <a:t>Work Group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Oval 74"/>
          <p:cNvSpPr/>
          <p:nvPr/>
        </p:nvSpPr>
        <p:spPr>
          <a:xfrm>
            <a:off x="3688670" y="4621578"/>
            <a:ext cx="405728" cy="4057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>
            <a:off x="4799076" y="4817562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9" name="Oval 78"/>
          <p:cNvSpPr/>
          <p:nvPr/>
        </p:nvSpPr>
        <p:spPr>
          <a:xfrm>
            <a:off x="4406031" y="5400942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3431025" y="4844761"/>
            <a:ext cx="405728" cy="4057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4629469" y="3616758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4" name="Oval 93"/>
          <p:cNvSpPr/>
          <p:nvPr/>
        </p:nvSpPr>
        <p:spPr>
          <a:xfrm>
            <a:off x="3567161" y="3529806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5" name="Oval 94"/>
          <p:cNvSpPr/>
          <p:nvPr/>
        </p:nvSpPr>
        <p:spPr>
          <a:xfrm>
            <a:off x="3989894" y="3208380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6" name="Oval 95"/>
          <p:cNvSpPr/>
          <p:nvPr/>
        </p:nvSpPr>
        <p:spPr>
          <a:xfrm>
            <a:off x="4060350" y="2966162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4" name="Oval 133"/>
          <p:cNvSpPr/>
          <p:nvPr/>
        </p:nvSpPr>
        <p:spPr>
          <a:xfrm>
            <a:off x="7676234" y="3162684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9" name="Oval 138"/>
          <p:cNvSpPr/>
          <p:nvPr/>
        </p:nvSpPr>
        <p:spPr>
          <a:xfrm>
            <a:off x="6829683" y="3119459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4" name="Oval 143"/>
          <p:cNvSpPr/>
          <p:nvPr/>
        </p:nvSpPr>
        <p:spPr>
          <a:xfrm>
            <a:off x="6139627" y="3511744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6" name="Oval 145"/>
          <p:cNvSpPr/>
          <p:nvPr/>
        </p:nvSpPr>
        <p:spPr>
          <a:xfrm>
            <a:off x="7837602" y="3507267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7" name="Oval 146"/>
          <p:cNvSpPr/>
          <p:nvPr/>
        </p:nvSpPr>
        <p:spPr>
          <a:xfrm>
            <a:off x="7067502" y="5606763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5" name="Oval 154"/>
          <p:cNvSpPr/>
          <p:nvPr/>
        </p:nvSpPr>
        <p:spPr>
          <a:xfrm>
            <a:off x="5623743" y="5220738"/>
            <a:ext cx="832094" cy="83209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5687897" y="5397931"/>
            <a:ext cx="737992" cy="51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/>
              </a:rPr>
              <a:t>Work Group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2" name="Oval 141"/>
          <p:cNvSpPr/>
          <p:nvPr/>
        </p:nvSpPr>
        <p:spPr>
          <a:xfrm>
            <a:off x="5739547" y="4954342"/>
            <a:ext cx="405728" cy="4057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1" name="Oval 150"/>
          <p:cNvSpPr/>
          <p:nvPr/>
        </p:nvSpPr>
        <p:spPr>
          <a:xfrm>
            <a:off x="5411446" y="5150283"/>
            <a:ext cx="405728" cy="40572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6314926" y="5298450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6330352" y="5730423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0" name="Oval 139"/>
          <p:cNvSpPr/>
          <p:nvPr/>
        </p:nvSpPr>
        <p:spPr>
          <a:xfrm>
            <a:off x="5887753" y="5916542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4694450" y="6002424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8" name="Oval 157"/>
          <p:cNvSpPr/>
          <p:nvPr/>
        </p:nvSpPr>
        <p:spPr>
          <a:xfrm>
            <a:off x="5133679" y="5530331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9" name="Oval 158"/>
          <p:cNvSpPr/>
          <p:nvPr/>
        </p:nvSpPr>
        <p:spPr>
          <a:xfrm>
            <a:off x="3317491" y="4312562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6290749" y="4767153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5697323" y="4375272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3" name="Oval 162"/>
          <p:cNvSpPr/>
          <p:nvPr/>
        </p:nvSpPr>
        <p:spPr>
          <a:xfrm>
            <a:off x="7230848" y="5432105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4060350" y="4150714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7" name="Oval 166"/>
          <p:cNvSpPr/>
          <p:nvPr/>
        </p:nvSpPr>
        <p:spPr>
          <a:xfrm>
            <a:off x="4288213" y="3456688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9" name="Oval 168"/>
          <p:cNvSpPr/>
          <p:nvPr/>
        </p:nvSpPr>
        <p:spPr>
          <a:xfrm>
            <a:off x="3003517" y="3608007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70" name="Oval 169"/>
          <p:cNvSpPr/>
          <p:nvPr/>
        </p:nvSpPr>
        <p:spPr>
          <a:xfrm>
            <a:off x="3426250" y="3374529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8055016" y="4784814"/>
            <a:ext cx="286262" cy="2862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8233721" y="4718798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72" name="Oval 171"/>
          <p:cNvSpPr/>
          <p:nvPr/>
        </p:nvSpPr>
        <p:spPr>
          <a:xfrm>
            <a:off x="2933062" y="4859709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5087401" y="4228018"/>
            <a:ext cx="530872" cy="240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Chair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4633563" y="4213693"/>
            <a:ext cx="530872" cy="240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Chair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3375996" y="4923694"/>
            <a:ext cx="530872" cy="240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Chair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3631740" y="4708147"/>
            <a:ext cx="530872" cy="240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Chair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5682746" y="5056956"/>
            <a:ext cx="530872" cy="240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Chair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5352570" y="5242245"/>
            <a:ext cx="530872" cy="240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Chair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6841043" y="3732421"/>
            <a:ext cx="530872" cy="240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Chair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6526293" y="3974640"/>
            <a:ext cx="530872" cy="240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000000"/>
                </a:solidFill>
                <a:latin typeface="Arial"/>
              </a:rPr>
              <a:t>Chair</a:t>
            </a:r>
          </a:p>
        </p:txBody>
      </p:sp>
      <p:cxnSp>
        <p:nvCxnSpPr>
          <p:cNvPr id="105" name="Straight Arrow Connector 104"/>
          <p:cNvCxnSpPr/>
          <p:nvPr/>
        </p:nvCxnSpPr>
        <p:spPr>
          <a:xfrm flipH="1">
            <a:off x="1964233" y="5925293"/>
            <a:ext cx="3771473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val 106"/>
          <p:cNvSpPr/>
          <p:nvPr/>
        </p:nvSpPr>
        <p:spPr>
          <a:xfrm>
            <a:off x="6244471" y="5862583"/>
            <a:ext cx="194870" cy="1948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43508" y="1196752"/>
            <a:ext cx="8856984" cy="298292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ommon Agenda and Shared Metric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92897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5" grpId="0" animBg="1"/>
      <p:bldP spid="175" grpId="0"/>
      <p:bldP spid="2" grpId="0" animBg="1"/>
      <p:bldP spid="17" grpId="0" animBg="1"/>
      <p:bldP spid="200" grpId="0"/>
      <p:bldP spid="110" grpId="0" animBg="1"/>
      <p:bldP spid="118" grpId="0" animBg="1"/>
      <p:bldP spid="120" grpId="0" animBg="1"/>
      <p:bldP spid="121" grpId="0" animBg="1"/>
      <p:bldP spid="122" grpId="0" animBg="1"/>
      <p:bldP spid="124" grpId="0" animBg="1"/>
      <p:bldP spid="126" grpId="0" animBg="1"/>
      <p:bldP spid="32" grpId="0" animBg="1"/>
      <p:bldP spid="50" grpId="0"/>
      <p:bldP spid="55" grpId="0" animBg="1"/>
      <p:bldP spid="57" grpId="0"/>
      <p:bldP spid="71" grpId="0" animBg="1"/>
      <p:bldP spid="74" grpId="0"/>
      <p:bldP spid="155" grpId="0" animBg="1"/>
      <p:bldP spid="156" grpId="0"/>
      <p:bldP spid="173" grpId="0"/>
      <p:bldP spid="174" grpId="0"/>
      <p:bldP spid="176" grpId="0"/>
      <p:bldP spid="177" grpId="0"/>
      <p:bldP spid="178" grpId="0"/>
      <p:bldP spid="179" grpId="0"/>
      <p:bldP spid="180" grpId="0"/>
      <p:bldP spid="181" grpId="0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Ion Boardroom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409</TotalTime>
  <Words>176</Words>
  <Application>Microsoft Office PowerPoint</Application>
  <PresentationFormat>On-screen Show (4:3)</PresentationFormat>
  <Paragraphs>50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Ion Boardroom</vt:lpstr>
      <vt:lpstr>think-cell Slide</vt:lpstr>
      <vt:lpstr>PowerPoint Presentation</vt:lpstr>
      <vt:lpstr>Collective Impact Infrastructure: Structuring for Intentionality and Uncertainty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ective Impact</dc:title>
  <dc:creator>Donna</dc:creator>
  <cp:lastModifiedBy>JSkala</cp:lastModifiedBy>
  <cp:revision>32</cp:revision>
  <dcterms:created xsi:type="dcterms:W3CDTF">2014-11-04T20:06:55Z</dcterms:created>
  <dcterms:modified xsi:type="dcterms:W3CDTF">2019-01-08T20:12:45Z</dcterms:modified>
</cp:coreProperties>
</file>